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0" r:id="rId3"/>
  </p:sldMasterIdLst>
  <p:notesMasterIdLst>
    <p:notesMasterId r:id="rId10"/>
  </p:notesMasterIdLst>
  <p:sldIdLst>
    <p:sldId id="2552" r:id="rId4"/>
    <p:sldId id="2737" r:id="rId5"/>
    <p:sldId id="2740" r:id="rId6"/>
    <p:sldId id="2741" r:id="rId7"/>
    <p:sldId id="2742" r:id="rId8"/>
    <p:sldId id="2743"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Hartin" initials="TR"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C098"/>
    <a:srgbClr val="7F7F7F"/>
    <a:srgbClr val="870F42"/>
    <a:srgbClr val="595959"/>
    <a:srgbClr val="0070C0"/>
    <a:srgbClr val="0086C5"/>
    <a:srgbClr val="00AEEF"/>
    <a:srgbClr val="2AC3F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4660"/>
  </p:normalViewPr>
  <p:slideViewPr>
    <p:cSldViewPr snapToGrid="0">
      <p:cViewPr varScale="1">
        <p:scale>
          <a:sx n="128" d="100"/>
          <a:sy n="128" d="100"/>
        </p:scale>
        <p:origin x="392" y="17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47F5CB-A47F-4BA1-A6DE-0E200CF243CE}" type="datetimeFigureOut">
              <a:rPr lang="en-US" smtClean="0"/>
              <a:t>9/3/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1DBA84-B0C6-4C75-B73C-6BF010F8D026}" type="slidenum">
              <a:rPr lang="en-US" smtClean="0"/>
              <a:t>‹#›</a:t>
            </a:fld>
            <a:endParaRPr lang="en-US"/>
          </a:p>
        </p:txBody>
      </p:sp>
    </p:spTree>
    <p:extLst>
      <p:ext uri="{BB962C8B-B14F-4D97-AF65-F5344CB8AC3E}">
        <p14:creationId xmlns:p14="http://schemas.microsoft.com/office/powerpoint/2010/main" val="4117101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65492" y="533401"/>
            <a:ext cx="9424140" cy="2514601"/>
          </a:xfrm>
        </p:spPr>
        <p:txBody>
          <a:bodyPr>
            <a:normAutofit/>
          </a:bodyPr>
          <a:lstStyle>
            <a:lvl1pPr>
              <a:defRPr sz="4800">
                <a:solidFill>
                  <a:schemeClr val="accent1">
                    <a:lumMod val="50000"/>
                  </a:schemeClr>
                </a:solidFill>
              </a:defRPr>
            </a:lvl1pPr>
          </a:lstStyle>
          <a:p>
            <a:r>
              <a:rPr lang="en-US"/>
              <a:t>Click to edit Master title style</a:t>
            </a:r>
            <a:endParaRPr/>
          </a:p>
        </p:txBody>
      </p:sp>
      <p:sp>
        <p:nvSpPr>
          <p:cNvPr id="3" name="Subtitle 2"/>
          <p:cNvSpPr>
            <a:spLocks noGrp="1"/>
          </p:cNvSpPr>
          <p:nvPr>
            <p:ph type="subTitle" idx="1"/>
          </p:nvPr>
        </p:nvSpPr>
        <p:spPr>
          <a:xfrm>
            <a:off x="1065492" y="3403600"/>
            <a:ext cx="9424140" cy="1397000"/>
          </a:xfrm>
        </p:spPr>
        <p:txBody>
          <a:bodyPr>
            <a:normAutofit/>
          </a:bodyPr>
          <a:lstStyle>
            <a:lvl1pPr marL="0" indent="0" algn="l">
              <a:spcBef>
                <a:spcPts val="600"/>
              </a:spcBef>
              <a:buNone/>
              <a:defRPr sz="24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3E0FA9E5-6744-4841-888F-9E7CC0C2B7EC}" type="datetimeFigureOut">
              <a:rPr lang="en-US"/>
              <a:t>9/3/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18812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3695" y="533400"/>
            <a:ext cx="2362816" cy="5486400"/>
          </a:xfrm>
        </p:spPr>
        <p:txBody>
          <a:bodyPr vert="eaVert"/>
          <a:lstStyle>
            <a:lvl1pPr>
              <a:defRPr>
                <a:solidFill>
                  <a:schemeClr val="accent1">
                    <a:lumMod val="50000"/>
                  </a:schemeClr>
                </a:solidFill>
              </a:defRPr>
            </a:lvl1pPr>
          </a:lstStyle>
          <a:p>
            <a:r>
              <a:rPr lang="en-US"/>
              <a:t>Click to edit Master title style</a:t>
            </a:r>
            <a:endParaRPr/>
          </a:p>
        </p:txBody>
      </p:sp>
      <p:sp>
        <p:nvSpPr>
          <p:cNvPr id="3" name="Vertical Text Placeholder 2"/>
          <p:cNvSpPr>
            <a:spLocks noGrp="1"/>
          </p:cNvSpPr>
          <p:nvPr>
            <p:ph type="body" orient="vert" idx="1"/>
          </p:nvPr>
        </p:nvSpPr>
        <p:spPr>
          <a:xfrm>
            <a:off x="1065491" y="533400"/>
            <a:ext cx="7469544"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9/3/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422024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b="16012"/>
          <a:stretch/>
        </p:blipFill>
        <p:spPr>
          <a:xfrm>
            <a:off x="0" y="1"/>
            <a:ext cx="12192000" cy="5112775"/>
          </a:xfrm>
          <a:prstGeom prst="rect">
            <a:avLst/>
          </a:prstGeom>
        </p:spPr>
      </p:pic>
      <p:sp>
        <p:nvSpPr>
          <p:cNvPr id="7" name="Rectangle 6"/>
          <p:cNvSpPr/>
          <p:nvPr userDrawn="1"/>
        </p:nvSpPr>
        <p:spPr bwMode="auto">
          <a:xfrm>
            <a:off x="0" y="4623372"/>
            <a:ext cx="12192000" cy="2223249"/>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1200">
              <a:latin typeface="Frutiger45-Light" panose="020B0400000000000000" pitchFamily="34" charset="0"/>
            </a:endParaRPr>
          </a:p>
        </p:txBody>
      </p:sp>
      <p:sp>
        <p:nvSpPr>
          <p:cNvPr id="2" name="Title 1"/>
          <p:cNvSpPr>
            <a:spLocks noGrp="1"/>
          </p:cNvSpPr>
          <p:nvPr>
            <p:ph type="ctrTitle"/>
          </p:nvPr>
        </p:nvSpPr>
        <p:spPr>
          <a:xfrm>
            <a:off x="480502" y="4983073"/>
            <a:ext cx="5509333" cy="559039"/>
          </a:xfrm>
        </p:spPr>
        <p:txBody>
          <a:bodyPr anchor="b"/>
          <a:lstStyle>
            <a:lvl1pPr>
              <a:defRPr lang="en-GB" sz="2400" b="1" ker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3" name="Subtitle 2"/>
          <p:cNvSpPr>
            <a:spLocks noGrp="1"/>
          </p:cNvSpPr>
          <p:nvPr>
            <p:ph type="subTitle" idx="1"/>
          </p:nvPr>
        </p:nvSpPr>
        <p:spPr>
          <a:xfrm>
            <a:off x="480502" y="5568445"/>
            <a:ext cx="5509333" cy="338024"/>
          </a:xfrm>
        </p:spPr>
        <p:txBody>
          <a:bodyPr lIns="0" rIns="0">
            <a:normAutofit/>
          </a:bodyPr>
          <a:lstStyle>
            <a:lvl1pPr marL="0" indent="0" algn="l" rtl="0" eaLnBrk="1" fontAlgn="base" hangingPunct="1">
              <a:lnSpc>
                <a:spcPct val="90000"/>
              </a:lnSpc>
              <a:spcBef>
                <a:spcPct val="0"/>
              </a:spcBef>
              <a:spcAft>
                <a:spcPct val="0"/>
              </a:spcAft>
              <a:buSzTx/>
              <a:buNone/>
              <a:defRPr lang="en-GB" sz="1200" kern="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9" name="TextBox 8"/>
          <p:cNvSpPr txBox="1"/>
          <p:nvPr userDrawn="1"/>
        </p:nvSpPr>
        <p:spPr>
          <a:xfrm>
            <a:off x="4617811" y="6138352"/>
            <a:ext cx="7200899" cy="442035"/>
          </a:xfrm>
          <a:prstGeom prst="rect">
            <a:avLst/>
          </a:prstGeom>
          <a:noFill/>
          <a:ln>
            <a:noFill/>
          </a:ln>
        </p:spPr>
        <p:txBody>
          <a:bodyPr wrap="square" lIns="36000" tIns="36000" rIns="36000" bIns="36000" rtlCol="0" anchor="ctr" anchorCtr="0">
            <a:spAutoFit/>
          </a:bodyPr>
          <a:lstStyle/>
          <a:p>
            <a:pPr algn="just"/>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the exclusive use of (Enter name of counterparty). This material is intended as support to an oral presentation. Without the commentary from the speaker the conclusions in this documents might vary. This material must not be copied, reproduced, published, distributed, passed on or disclosed (in whole or in part) to any other person or used for any other purpose at any time without the prior written consent of Altán. </a:t>
            </a:r>
          </a:p>
        </p:txBody>
      </p:sp>
      <p:pic>
        <p:nvPicPr>
          <p:cNvPr id="10" name="Picture 9"/>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80501" y="6048376"/>
            <a:ext cx="1402027" cy="614480"/>
          </a:xfrm>
          <a:prstGeom prst="rect">
            <a:avLst/>
          </a:prstGeom>
        </p:spPr>
      </p:pic>
    </p:spTree>
    <p:extLst>
      <p:ext uri="{BB962C8B-B14F-4D97-AF65-F5344CB8AC3E}">
        <p14:creationId xmlns:p14="http://schemas.microsoft.com/office/powerpoint/2010/main" val="28680070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6">
                <a:shade val="45000"/>
                <a:satMod val="135000"/>
              </a:schemeClr>
              <a:prstClr val="white"/>
            </a:duotone>
          </a:blip>
          <a:srcRect t="27038"/>
          <a:stretch/>
        </p:blipFill>
        <p:spPr>
          <a:xfrm>
            <a:off x="0" y="1794"/>
            <a:ext cx="12192000" cy="5012101"/>
          </a:xfrm>
          <a:prstGeom prst="rect">
            <a:avLst/>
          </a:prstGeom>
        </p:spPr>
      </p:pic>
      <p:sp>
        <p:nvSpPr>
          <p:cNvPr id="14" name="Rectangle 13"/>
          <p:cNvSpPr/>
          <p:nvPr userDrawn="1"/>
        </p:nvSpPr>
        <p:spPr bwMode="auto">
          <a:xfrm>
            <a:off x="0" y="4623370"/>
            <a:ext cx="12192000" cy="2234631"/>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1200">
              <a:latin typeface="Frutiger45-Light" panose="020B0400000000000000" pitchFamily="34" charset="0"/>
            </a:endParaRPr>
          </a:p>
        </p:txBody>
      </p:sp>
      <p:sp>
        <p:nvSpPr>
          <p:cNvPr id="15" name="Title 1"/>
          <p:cNvSpPr>
            <a:spLocks noGrp="1"/>
          </p:cNvSpPr>
          <p:nvPr>
            <p:ph type="ctrTitle"/>
          </p:nvPr>
        </p:nvSpPr>
        <p:spPr>
          <a:xfrm>
            <a:off x="480501" y="4983073"/>
            <a:ext cx="11338208" cy="559039"/>
          </a:xfrm>
        </p:spPr>
        <p:txBody>
          <a:bodyPr anchor="b"/>
          <a:lstStyle>
            <a:lvl1pPr>
              <a:defRPr lang="en-GB" sz="2400" b="1" ker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16" name="Subtitle 2"/>
          <p:cNvSpPr>
            <a:spLocks noGrp="1"/>
          </p:cNvSpPr>
          <p:nvPr>
            <p:ph type="subTitle" idx="1"/>
          </p:nvPr>
        </p:nvSpPr>
        <p:spPr>
          <a:xfrm>
            <a:off x="480501" y="5568445"/>
            <a:ext cx="11338208" cy="338024"/>
          </a:xfrm>
        </p:spPr>
        <p:txBody>
          <a:bodyPr lIns="0" rIns="0">
            <a:normAutofit/>
          </a:bodyPr>
          <a:lstStyle>
            <a:lvl1pPr marL="0" indent="0" algn="l" rtl="0" eaLnBrk="1" fontAlgn="base" hangingPunct="1">
              <a:lnSpc>
                <a:spcPct val="90000"/>
              </a:lnSpc>
              <a:spcBef>
                <a:spcPct val="0"/>
              </a:spcBef>
              <a:spcAft>
                <a:spcPct val="0"/>
              </a:spcAft>
              <a:buSzTx/>
              <a:buNone/>
              <a:defRPr lang="en-GB" sz="1200" kern="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20" name="TextBox 19"/>
          <p:cNvSpPr txBox="1"/>
          <p:nvPr userDrawn="1"/>
        </p:nvSpPr>
        <p:spPr>
          <a:xfrm>
            <a:off x="4617811" y="6199907"/>
            <a:ext cx="7200899" cy="318924"/>
          </a:xfrm>
          <a:prstGeom prst="rect">
            <a:avLst/>
          </a:prstGeom>
          <a:noFill/>
          <a:ln>
            <a:noFill/>
          </a:ln>
        </p:spPr>
        <p:txBody>
          <a:bodyPr wrap="square" lIns="36000" tIns="36000" rIns="36000" bIns="36000" rtlCol="0" anchor="ctr" anchorCtr="0">
            <a:spAutoFit/>
          </a:bodyPr>
          <a:lstStyle/>
          <a:p>
            <a:pPr algn="just"/>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internal use only. This material must not be copied, reproduced, published, distributed, passed on or disclosed (in whole or in part) to any other person or used for any other purpose at any time without the prior written consent of Altán. </a:t>
            </a:r>
          </a:p>
        </p:txBody>
      </p:sp>
      <p:pic>
        <p:nvPicPr>
          <p:cNvPr id="2" name="Picture 1"/>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80501" y="6048376"/>
            <a:ext cx="1402027" cy="614480"/>
          </a:xfrm>
          <a:prstGeom prst="rect">
            <a:avLst/>
          </a:prstGeom>
        </p:spPr>
      </p:pic>
    </p:spTree>
    <p:extLst>
      <p:ext uri="{BB962C8B-B14F-4D97-AF65-F5344CB8AC3E}">
        <p14:creationId xmlns:p14="http://schemas.microsoft.com/office/powerpoint/2010/main" val="23277956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duotone>
              <a:schemeClr val="accent6">
                <a:shade val="45000"/>
                <a:satMod val="135000"/>
              </a:schemeClr>
              <a:prstClr val="white"/>
            </a:duotone>
          </a:blip>
          <a:stretch>
            <a:fillRect/>
          </a:stretch>
        </p:blipFill>
        <p:spPr>
          <a:xfrm>
            <a:off x="0" y="0"/>
            <a:ext cx="12192000" cy="6858000"/>
          </a:xfrm>
          <a:prstGeom prst="rect">
            <a:avLst/>
          </a:prstGeom>
        </p:spPr>
      </p:pic>
      <p:sp>
        <p:nvSpPr>
          <p:cNvPr id="10" name="Rectangle 9"/>
          <p:cNvSpPr/>
          <p:nvPr userDrawn="1"/>
        </p:nvSpPr>
        <p:spPr bwMode="auto">
          <a:xfrm>
            <a:off x="0" y="0"/>
            <a:ext cx="7193280" cy="6858000"/>
          </a:xfrm>
          <a:prstGeom prst="rect">
            <a:avLst/>
          </a:prstGeom>
          <a:solidFill>
            <a:schemeClr val="accent3">
              <a:lumMod val="50000"/>
              <a:alpha val="71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2" name="Title 1"/>
          <p:cNvSpPr>
            <a:spLocks noGrp="1"/>
          </p:cNvSpPr>
          <p:nvPr>
            <p:ph type="ctrTitle"/>
          </p:nvPr>
        </p:nvSpPr>
        <p:spPr>
          <a:xfrm>
            <a:off x="480502" y="2764902"/>
            <a:ext cx="5804185" cy="559039"/>
          </a:xfrm>
        </p:spPr>
        <p:txBody>
          <a:bodyPr anchor="b"/>
          <a:lstStyle>
            <a:lvl1pPr>
              <a:defRPr lang="en-GB" sz="2400" b="1" ker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3" name="Subtitle 2"/>
          <p:cNvSpPr>
            <a:spLocks noGrp="1"/>
          </p:cNvSpPr>
          <p:nvPr>
            <p:ph type="subTitle" idx="1"/>
          </p:nvPr>
        </p:nvSpPr>
        <p:spPr>
          <a:xfrm>
            <a:off x="480502" y="3512457"/>
            <a:ext cx="5804185" cy="338024"/>
          </a:xfrm>
        </p:spPr>
        <p:txBody>
          <a:bodyPr>
            <a:normAutofit/>
          </a:bodyPr>
          <a:lstStyle>
            <a:lvl1pPr marL="0" indent="0" algn="l" rtl="0" eaLnBrk="1" fontAlgn="base" hangingPunct="1">
              <a:lnSpc>
                <a:spcPct val="90000"/>
              </a:lnSpc>
              <a:spcBef>
                <a:spcPct val="0"/>
              </a:spcBef>
              <a:spcAft>
                <a:spcPct val="0"/>
              </a:spcAft>
              <a:buSzTx/>
              <a:buNone/>
              <a:defRPr lang="en-GB" sz="120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1" name="TextBox 10"/>
          <p:cNvSpPr txBox="1"/>
          <p:nvPr userDrawn="1"/>
        </p:nvSpPr>
        <p:spPr>
          <a:xfrm>
            <a:off x="4617811" y="6138352"/>
            <a:ext cx="7200899" cy="442035"/>
          </a:xfrm>
          <a:prstGeom prst="rect">
            <a:avLst/>
          </a:prstGeom>
          <a:noFill/>
          <a:ln>
            <a:noFill/>
          </a:ln>
        </p:spPr>
        <p:txBody>
          <a:bodyPr wrap="square" lIns="36000" tIns="36000" rIns="36000" bIns="36000" rtlCol="0" anchor="ctr" anchorCtr="0">
            <a:spAutoFit/>
          </a:bodyPr>
          <a:lstStyle/>
          <a:p>
            <a:pPr algn="r"/>
            <a:r>
              <a:rPr lang="en-US" sz="800">
                <a:solidFill>
                  <a:schemeClr val="bg1"/>
                </a:solidFill>
                <a:latin typeface="Frutiger45-Light" panose="020B0400000000000000" pitchFamily="34" charset="0"/>
              </a:rPr>
              <a:t>DISCLAIMER: </a:t>
            </a:r>
            <a:r>
              <a:rPr lang="en-GB" sz="800">
                <a:solidFill>
                  <a:schemeClr val="bg1"/>
                </a:solidFill>
                <a:latin typeface="Frutiger45-Light" panose="020B0400000000000000" pitchFamily="34" charset="0"/>
              </a:rPr>
              <a:t>This document has been prepared by Altán for the exclusive use of (Enter name of counterparty). This material is intended as support to an oral presentation. Without the commentary from the speaker the conclusions in this documents might vary. This material must not be copied, reproduced, published, distributed, passed on or disclosed (in whole or in part) to any other person or used for any other purpose at any time without the prior written consent of Altán. </a:t>
            </a:r>
          </a:p>
        </p:txBody>
      </p:sp>
      <p:grpSp>
        <p:nvGrpSpPr>
          <p:cNvPr id="29" name="Group 28"/>
          <p:cNvGrpSpPr/>
          <p:nvPr userDrawn="1"/>
        </p:nvGrpSpPr>
        <p:grpSpPr>
          <a:xfrm>
            <a:off x="480504" y="6058053"/>
            <a:ext cx="1402025" cy="604803"/>
            <a:chOff x="5021263" y="892175"/>
            <a:chExt cx="6465887" cy="2789238"/>
          </a:xfrm>
        </p:grpSpPr>
        <p:sp>
          <p:nvSpPr>
            <p:cNvPr id="6" name="AutoShape 3"/>
            <p:cNvSpPr>
              <a:spLocks noChangeAspect="1" noChangeArrowheads="1" noTextEdit="1"/>
            </p:cNvSpPr>
            <p:nvPr userDrawn="1"/>
          </p:nvSpPr>
          <p:spPr bwMode="auto">
            <a:xfrm>
              <a:off x="5021263" y="892175"/>
              <a:ext cx="6446837" cy="278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5"/>
            <p:cNvSpPr>
              <a:spLocks/>
            </p:cNvSpPr>
            <p:nvPr userDrawn="1"/>
          </p:nvSpPr>
          <p:spPr bwMode="auto">
            <a:xfrm>
              <a:off x="10206038" y="1144588"/>
              <a:ext cx="1243012" cy="1414463"/>
            </a:xfrm>
            <a:custGeom>
              <a:avLst/>
              <a:gdLst>
                <a:gd name="T0" fmla="*/ 265 w 331"/>
                <a:gd name="T1" fmla="*/ 281 h 376"/>
                <a:gd name="T2" fmla="*/ 265 w 331"/>
                <a:gd name="T3" fmla="*/ 268 h 376"/>
                <a:gd name="T4" fmla="*/ 261 w 331"/>
                <a:gd name="T5" fmla="*/ 8 h 376"/>
                <a:gd name="T6" fmla="*/ 269 w 331"/>
                <a:gd name="T7" fmla="*/ 0 h 376"/>
                <a:gd name="T8" fmla="*/ 324 w 331"/>
                <a:gd name="T9" fmla="*/ 1 h 376"/>
                <a:gd name="T10" fmla="*/ 331 w 331"/>
                <a:gd name="T11" fmla="*/ 8 h 376"/>
                <a:gd name="T12" fmla="*/ 331 w 331"/>
                <a:gd name="T13" fmla="*/ 25 h 376"/>
                <a:gd name="T14" fmla="*/ 331 w 331"/>
                <a:gd name="T15" fmla="*/ 364 h 376"/>
                <a:gd name="T16" fmla="*/ 319 w 331"/>
                <a:gd name="T17" fmla="*/ 376 h 376"/>
                <a:gd name="T18" fmla="*/ 241 w 331"/>
                <a:gd name="T19" fmla="*/ 376 h 376"/>
                <a:gd name="T20" fmla="*/ 226 w 331"/>
                <a:gd name="T21" fmla="*/ 367 h 376"/>
                <a:gd name="T22" fmla="*/ 75 w 331"/>
                <a:gd name="T23" fmla="*/ 103 h 376"/>
                <a:gd name="T24" fmla="*/ 68 w 331"/>
                <a:gd name="T25" fmla="*/ 91 h 376"/>
                <a:gd name="T26" fmla="*/ 65 w 331"/>
                <a:gd name="T27" fmla="*/ 91 h 376"/>
                <a:gd name="T28" fmla="*/ 64 w 331"/>
                <a:gd name="T29" fmla="*/ 100 h 376"/>
                <a:gd name="T30" fmla="*/ 68 w 331"/>
                <a:gd name="T31" fmla="*/ 324 h 376"/>
                <a:gd name="T32" fmla="*/ 68 w 331"/>
                <a:gd name="T33" fmla="*/ 367 h 376"/>
                <a:gd name="T34" fmla="*/ 60 w 331"/>
                <a:gd name="T35" fmla="*/ 376 h 376"/>
                <a:gd name="T36" fmla="*/ 9 w 331"/>
                <a:gd name="T37" fmla="*/ 376 h 376"/>
                <a:gd name="T38" fmla="*/ 0 w 331"/>
                <a:gd name="T39" fmla="*/ 366 h 376"/>
                <a:gd name="T40" fmla="*/ 0 w 331"/>
                <a:gd name="T41" fmla="*/ 286 h 376"/>
                <a:gd name="T42" fmla="*/ 0 w 331"/>
                <a:gd name="T43" fmla="*/ 13 h 376"/>
                <a:gd name="T44" fmla="*/ 12 w 331"/>
                <a:gd name="T45" fmla="*/ 0 h 376"/>
                <a:gd name="T46" fmla="*/ 90 w 331"/>
                <a:gd name="T47" fmla="*/ 0 h 376"/>
                <a:gd name="T48" fmla="*/ 103 w 331"/>
                <a:gd name="T49" fmla="*/ 8 h 376"/>
                <a:gd name="T50" fmla="*/ 256 w 331"/>
                <a:gd name="T51" fmla="*/ 272 h 376"/>
                <a:gd name="T52" fmla="*/ 262 w 331"/>
                <a:gd name="T53" fmla="*/ 282 h 376"/>
                <a:gd name="T54" fmla="*/ 265 w 331"/>
                <a:gd name="T55" fmla="*/ 2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1" h="376">
                  <a:moveTo>
                    <a:pt x="265" y="281"/>
                  </a:moveTo>
                  <a:cubicBezTo>
                    <a:pt x="265" y="277"/>
                    <a:pt x="265" y="273"/>
                    <a:pt x="265" y="268"/>
                  </a:cubicBezTo>
                  <a:cubicBezTo>
                    <a:pt x="264" y="182"/>
                    <a:pt x="262" y="95"/>
                    <a:pt x="261" y="8"/>
                  </a:cubicBezTo>
                  <a:cubicBezTo>
                    <a:pt x="261" y="3"/>
                    <a:pt x="263" y="0"/>
                    <a:pt x="269" y="0"/>
                  </a:cubicBezTo>
                  <a:cubicBezTo>
                    <a:pt x="287" y="1"/>
                    <a:pt x="305" y="1"/>
                    <a:pt x="324" y="1"/>
                  </a:cubicBezTo>
                  <a:cubicBezTo>
                    <a:pt x="329" y="0"/>
                    <a:pt x="331" y="2"/>
                    <a:pt x="331" y="8"/>
                  </a:cubicBezTo>
                  <a:cubicBezTo>
                    <a:pt x="331" y="13"/>
                    <a:pt x="331" y="19"/>
                    <a:pt x="331" y="25"/>
                  </a:cubicBezTo>
                  <a:cubicBezTo>
                    <a:pt x="331" y="138"/>
                    <a:pt x="331" y="251"/>
                    <a:pt x="331" y="364"/>
                  </a:cubicBezTo>
                  <a:cubicBezTo>
                    <a:pt x="331" y="373"/>
                    <a:pt x="329" y="376"/>
                    <a:pt x="319" y="376"/>
                  </a:cubicBezTo>
                  <a:cubicBezTo>
                    <a:pt x="293" y="375"/>
                    <a:pt x="267" y="375"/>
                    <a:pt x="241" y="376"/>
                  </a:cubicBezTo>
                  <a:cubicBezTo>
                    <a:pt x="234" y="376"/>
                    <a:pt x="230" y="373"/>
                    <a:pt x="226" y="367"/>
                  </a:cubicBezTo>
                  <a:cubicBezTo>
                    <a:pt x="176" y="279"/>
                    <a:pt x="125" y="191"/>
                    <a:pt x="75" y="103"/>
                  </a:cubicBezTo>
                  <a:cubicBezTo>
                    <a:pt x="72" y="99"/>
                    <a:pt x="70" y="95"/>
                    <a:pt x="68" y="91"/>
                  </a:cubicBezTo>
                  <a:cubicBezTo>
                    <a:pt x="67" y="91"/>
                    <a:pt x="66" y="91"/>
                    <a:pt x="65" y="91"/>
                  </a:cubicBezTo>
                  <a:cubicBezTo>
                    <a:pt x="65" y="94"/>
                    <a:pt x="64" y="97"/>
                    <a:pt x="64" y="100"/>
                  </a:cubicBezTo>
                  <a:cubicBezTo>
                    <a:pt x="66" y="175"/>
                    <a:pt x="67" y="250"/>
                    <a:pt x="68" y="324"/>
                  </a:cubicBezTo>
                  <a:cubicBezTo>
                    <a:pt x="69" y="338"/>
                    <a:pt x="68" y="352"/>
                    <a:pt x="68" y="367"/>
                  </a:cubicBezTo>
                  <a:cubicBezTo>
                    <a:pt x="69" y="373"/>
                    <a:pt x="67" y="376"/>
                    <a:pt x="60" y="376"/>
                  </a:cubicBezTo>
                  <a:cubicBezTo>
                    <a:pt x="43" y="375"/>
                    <a:pt x="26" y="375"/>
                    <a:pt x="9" y="376"/>
                  </a:cubicBezTo>
                  <a:cubicBezTo>
                    <a:pt x="1" y="376"/>
                    <a:pt x="0" y="373"/>
                    <a:pt x="0" y="366"/>
                  </a:cubicBezTo>
                  <a:cubicBezTo>
                    <a:pt x="0" y="339"/>
                    <a:pt x="0" y="313"/>
                    <a:pt x="0" y="286"/>
                  </a:cubicBezTo>
                  <a:cubicBezTo>
                    <a:pt x="0" y="195"/>
                    <a:pt x="0" y="104"/>
                    <a:pt x="0" y="13"/>
                  </a:cubicBezTo>
                  <a:cubicBezTo>
                    <a:pt x="0" y="3"/>
                    <a:pt x="2" y="0"/>
                    <a:pt x="12" y="0"/>
                  </a:cubicBezTo>
                  <a:cubicBezTo>
                    <a:pt x="38" y="1"/>
                    <a:pt x="64" y="1"/>
                    <a:pt x="90" y="0"/>
                  </a:cubicBezTo>
                  <a:cubicBezTo>
                    <a:pt x="96" y="0"/>
                    <a:pt x="100" y="3"/>
                    <a:pt x="103" y="8"/>
                  </a:cubicBezTo>
                  <a:cubicBezTo>
                    <a:pt x="154" y="96"/>
                    <a:pt x="205" y="184"/>
                    <a:pt x="256" y="272"/>
                  </a:cubicBezTo>
                  <a:cubicBezTo>
                    <a:pt x="258" y="276"/>
                    <a:pt x="260" y="279"/>
                    <a:pt x="262" y="282"/>
                  </a:cubicBezTo>
                  <a:cubicBezTo>
                    <a:pt x="263" y="282"/>
                    <a:pt x="264" y="281"/>
                    <a:pt x="265" y="28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 name="Freeform 6"/>
            <p:cNvSpPr>
              <a:spLocks noEditPoints="1"/>
            </p:cNvSpPr>
            <p:nvPr userDrawn="1"/>
          </p:nvSpPr>
          <p:spPr bwMode="auto">
            <a:xfrm>
              <a:off x="5035550" y="1144588"/>
              <a:ext cx="1349375" cy="1414463"/>
            </a:xfrm>
            <a:custGeom>
              <a:avLst/>
              <a:gdLst>
                <a:gd name="T0" fmla="*/ 359 w 359"/>
                <a:gd name="T1" fmla="*/ 375 h 376"/>
                <a:gd name="T2" fmla="*/ 282 w 359"/>
                <a:gd name="T3" fmla="*/ 375 h 376"/>
                <a:gd name="T4" fmla="*/ 274 w 359"/>
                <a:gd name="T5" fmla="*/ 368 h 376"/>
                <a:gd name="T6" fmla="*/ 253 w 359"/>
                <a:gd name="T7" fmla="*/ 298 h 376"/>
                <a:gd name="T8" fmla="*/ 239 w 359"/>
                <a:gd name="T9" fmla="*/ 287 h 376"/>
                <a:gd name="T10" fmla="*/ 122 w 359"/>
                <a:gd name="T11" fmla="*/ 287 h 376"/>
                <a:gd name="T12" fmla="*/ 107 w 359"/>
                <a:gd name="T13" fmla="*/ 298 h 376"/>
                <a:gd name="T14" fmla="*/ 87 w 359"/>
                <a:gd name="T15" fmla="*/ 367 h 376"/>
                <a:gd name="T16" fmla="*/ 75 w 359"/>
                <a:gd name="T17" fmla="*/ 376 h 376"/>
                <a:gd name="T18" fmla="*/ 0 w 359"/>
                <a:gd name="T19" fmla="*/ 375 h 376"/>
                <a:gd name="T20" fmla="*/ 13 w 359"/>
                <a:gd name="T21" fmla="*/ 337 h 376"/>
                <a:gd name="T22" fmla="*/ 128 w 359"/>
                <a:gd name="T23" fmla="*/ 11 h 376"/>
                <a:gd name="T24" fmla="*/ 144 w 359"/>
                <a:gd name="T25" fmla="*/ 0 h 376"/>
                <a:gd name="T26" fmla="*/ 220 w 359"/>
                <a:gd name="T27" fmla="*/ 0 h 376"/>
                <a:gd name="T28" fmla="*/ 231 w 359"/>
                <a:gd name="T29" fmla="*/ 8 h 376"/>
                <a:gd name="T30" fmla="*/ 358 w 359"/>
                <a:gd name="T31" fmla="*/ 368 h 376"/>
                <a:gd name="T32" fmla="*/ 359 w 359"/>
                <a:gd name="T33" fmla="*/ 375 h 376"/>
                <a:gd name="T34" fmla="*/ 181 w 359"/>
                <a:gd name="T35" fmla="*/ 61 h 376"/>
                <a:gd name="T36" fmla="*/ 179 w 359"/>
                <a:gd name="T37" fmla="*/ 61 h 376"/>
                <a:gd name="T38" fmla="*/ 131 w 359"/>
                <a:gd name="T39" fmla="*/ 221 h 376"/>
                <a:gd name="T40" fmla="*/ 230 w 359"/>
                <a:gd name="T41" fmla="*/ 221 h 376"/>
                <a:gd name="T42" fmla="*/ 181 w 359"/>
                <a:gd name="T43" fmla="*/ 6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76">
                  <a:moveTo>
                    <a:pt x="359" y="375"/>
                  </a:moveTo>
                  <a:cubicBezTo>
                    <a:pt x="333" y="375"/>
                    <a:pt x="308" y="376"/>
                    <a:pt x="282" y="375"/>
                  </a:cubicBezTo>
                  <a:cubicBezTo>
                    <a:pt x="279" y="375"/>
                    <a:pt x="275" y="371"/>
                    <a:pt x="274" y="368"/>
                  </a:cubicBezTo>
                  <a:cubicBezTo>
                    <a:pt x="267" y="344"/>
                    <a:pt x="260" y="321"/>
                    <a:pt x="253" y="298"/>
                  </a:cubicBezTo>
                  <a:cubicBezTo>
                    <a:pt x="251" y="290"/>
                    <a:pt x="247" y="287"/>
                    <a:pt x="239" y="287"/>
                  </a:cubicBezTo>
                  <a:cubicBezTo>
                    <a:pt x="200" y="287"/>
                    <a:pt x="161" y="287"/>
                    <a:pt x="122" y="287"/>
                  </a:cubicBezTo>
                  <a:cubicBezTo>
                    <a:pt x="113" y="287"/>
                    <a:pt x="110" y="290"/>
                    <a:pt x="107" y="298"/>
                  </a:cubicBezTo>
                  <a:cubicBezTo>
                    <a:pt x="101" y="321"/>
                    <a:pt x="93" y="344"/>
                    <a:pt x="87" y="367"/>
                  </a:cubicBezTo>
                  <a:cubicBezTo>
                    <a:pt x="85" y="373"/>
                    <a:pt x="82" y="376"/>
                    <a:pt x="75" y="376"/>
                  </a:cubicBezTo>
                  <a:cubicBezTo>
                    <a:pt x="51" y="375"/>
                    <a:pt x="26" y="375"/>
                    <a:pt x="0" y="375"/>
                  </a:cubicBezTo>
                  <a:cubicBezTo>
                    <a:pt x="5" y="362"/>
                    <a:pt x="9" y="349"/>
                    <a:pt x="13" y="337"/>
                  </a:cubicBezTo>
                  <a:cubicBezTo>
                    <a:pt x="52" y="229"/>
                    <a:pt x="90" y="120"/>
                    <a:pt x="128" y="11"/>
                  </a:cubicBezTo>
                  <a:cubicBezTo>
                    <a:pt x="131" y="3"/>
                    <a:pt x="135" y="0"/>
                    <a:pt x="144" y="0"/>
                  </a:cubicBezTo>
                  <a:cubicBezTo>
                    <a:pt x="169" y="1"/>
                    <a:pt x="194" y="1"/>
                    <a:pt x="220" y="0"/>
                  </a:cubicBezTo>
                  <a:cubicBezTo>
                    <a:pt x="226" y="0"/>
                    <a:pt x="229" y="2"/>
                    <a:pt x="231" y="8"/>
                  </a:cubicBezTo>
                  <a:cubicBezTo>
                    <a:pt x="273" y="128"/>
                    <a:pt x="316" y="248"/>
                    <a:pt x="358" y="368"/>
                  </a:cubicBezTo>
                  <a:cubicBezTo>
                    <a:pt x="359" y="370"/>
                    <a:pt x="359" y="372"/>
                    <a:pt x="359" y="375"/>
                  </a:cubicBezTo>
                  <a:close/>
                  <a:moveTo>
                    <a:pt x="181" y="61"/>
                  </a:moveTo>
                  <a:cubicBezTo>
                    <a:pt x="181" y="61"/>
                    <a:pt x="180" y="61"/>
                    <a:pt x="179" y="61"/>
                  </a:cubicBezTo>
                  <a:cubicBezTo>
                    <a:pt x="163" y="114"/>
                    <a:pt x="147" y="167"/>
                    <a:pt x="131" y="221"/>
                  </a:cubicBezTo>
                  <a:cubicBezTo>
                    <a:pt x="165" y="221"/>
                    <a:pt x="197" y="221"/>
                    <a:pt x="230" y="221"/>
                  </a:cubicBezTo>
                  <a:cubicBezTo>
                    <a:pt x="214" y="167"/>
                    <a:pt x="198" y="114"/>
                    <a:pt x="181" y="6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 name="Freeform 7"/>
            <p:cNvSpPr>
              <a:spLocks noEditPoints="1"/>
            </p:cNvSpPr>
            <p:nvPr userDrawn="1"/>
          </p:nvSpPr>
          <p:spPr bwMode="auto">
            <a:xfrm>
              <a:off x="8658225" y="1144588"/>
              <a:ext cx="1352550" cy="1414463"/>
            </a:xfrm>
            <a:custGeom>
              <a:avLst/>
              <a:gdLst>
                <a:gd name="T0" fmla="*/ 360 w 360"/>
                <a:gd name="T1" fmla="*/ 375 h 376"/>
                <a:gd name="T2" fmla="*/ 298 w 360"/>
                <a:gd name="T3" fmla="*/ 375 h 376"/>
                <a:gd name="T4" fmla="*/ 270 w 360"/>
                <a:gd name="T5" fmla="*/ 355 h 376"/>
                <a:gd name="T6" fmla="*/ 252 w 360"/>
                <a:gd name="T7" fmla="*/ 297 h 376"/>
                <a:gd name="T8" fmla="*/ 240 w 360"/>
                <a:gd name="T9" fmla="*/ 287 h 376"/>
                <a:gd name="T10" fmla="*/ 121 w 360"/>
                <a:gd name="T11" fmla="*/ 287 h 376"/>
                <a:gd name="T12" fmla="*/ 108 w 360"/>
                <a:gd name="T13" fmla="*/ 296 h 376"/>
                <a:gd name="T14" fmla="*/ 87 w 360"/>
                <a:gd name="T15" fmla="*/ 367 h 376"/>
                <a:gd name="T16" fmla="*/ 75 w 360"/>
                <a:gd name="T17" fmla="*/ 376 h 376"/>
                <a:gd name="T18" fmla="*/ 0 w 360"/>
                <a:gd name="T19" fmla="*/ 375 h 376"/>
                <a:gd name="T20" fmla="*/ 13 w 360"/>
                <a:gd name="T21" fmla="*/ 338 h 376"/>
                <a:gd name="T22" fmla="*/ 128 w 360"/>
                <a:gd name="T23" fmla="*/ 12 h 376"/>
                <a:gd name="T24" fmla="*/ 143 w 360"/>
                <a:gd name="T25" fmla="*/ 0 h 376"/>
                <a:gd name="T26" fmla="*/ 218 w 360"/>
                <a:gd name="T27" fmla="*/ 0 h 376"/>
                <a:gd name="T28" fmla="*/ 231 w 360"/>
                <a:gd name="T29" fmla="*/ 9 h 376"/>
                <a:gd name="T30" fmla="*/ 344 w 360"/>
                <a:gd name="T31" fmla="*/ 328 h 376"/>
                <a:gd name="T32" fmla="*/ 360 w 360"/>
                <a:gd name="T33" fmla="*/ 375 h 376"/>
                <a:gd name="T34" fmla="*/ 131 w 360"/>
                <a:gd name="T35" fmla="*/ 221 h 376"/>
                <a:gd name="T36" fmla="*/ 230 w 360"/>
                <a:gd name="T37" fmla="*/ 221 h 376"/>
                <a:gd name="T38" fmla="*/ 181 w 360"/>
                <a:gd name="T39" fmla="*/ 61 h 376"/>
                <a:gd name="T40" fmla="*/ 179 w 360"/>
                <a:gd name="T41" fmla="*/ 61 h 376"/>
                <a:gd name="T42" fmla="*/ 131 w 360"/>
                <a:gd name="T43" fmla="*/ 22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 h="376">
                  <a:moveTo>
                    <a:pt x="360" y="375"/>
                  </a:moveTo>
                  <a:cubicBezTo>
                    <a:pt x="338" y="375"/>
                    <a:pt x="318" y="375"/>
                    <a:pt x="298" y="375"/>
                  </a:cubicBezTo>
                  <a:cubicBezTo>
                    <a:pt x="276" y="375"/>
                    <a:pt x="276" y="375"/>
                    <a:pt x="270" y="355"/>
                  </a:cubicBezTo>
                  <a:cubicBezTo>
                    <a:pt x="264" y="336"/>
                    <a:pt x="258" y="316"/>
                    <a:pt x="252" y="297"/>
                  </a:cubicBezTo>
                  <a:cubicBezTo>
                    <a:pt x="250" y="290"/>
                    <a:pt x="247" y="287"/>
                    <a:pt x="240" y="287"/>
                  </a:cubicBezTo>
                  <a:cubicBezTo>
                    <a:pt x="200" y="287"/>
                    <a:pt x="160" y="287"/>
                    <a:pt x="121" y="287"/>
                  </a:cubicBezTo>
                  <a:cubicBezTo>
                    <a:pt x="113" y="287"/>
                    <a:pt x="110" y="289"/>
                    <a:pt x="108" y="296"/>
                  </a:cubicBezTo>
                  <a:cubicBezTo>
                    <a:pt x="101" y="320"/>
                    <a:pt x="93" y="343"/>
                    <a:pt x="87" y="367"/>
                  </a:cubicBezTo>
                  <a:cubicBezTo>
                    <a:pt x="85" y="373"/>
                    <a:pt x="82" y="376"/>
                    <a:pt x="75" y="376"/>
                  </a:cubicBezTo>
                  <a:cubicBezTo>
                    <a:pt x="50" y="375"/>
                    <a:pt x="26" y="375"/>
                    <a:pt x="0" y="375"/>
                  </a:cubicBezTo>
                  <a:cubicBezTo>
                    <a:pt x="5" y="362"/>
                    <a:pt x="9" y="350"/>
                    <a:pt x="13" y="338"/>
                  </a:cubicBezTo>
                  <a:cubicBezTo>
                    <a:pt x="51" y="229"/>
                    <a:pt x="90" y="120"/>
                    <a:pt x="128" y="12"/>
                  </a:cubicBezTo>
                  <a:cubicBezTo>
                    <a:pt x="131" y="4"/>
                    <a:pt x="134" y="0"/>
                    <a:pt x="143" y="0"/>
                  </a:cubicBezTo>
                  <a:cubicBezTo>
                    <a:pt x="168" y="1"/>
                    <a:pt x="193" y="1"/>
                    <a:pt x="218" y="0"/>
                  </a:cubicBezTo>
                  <a:cubicBezTo>
                    <a:pt x="225" y="0"/>
                    <a:pt x="229" y="2"/>
                    <a:pt x="231" y="9"/>
                  </a:cubicBezTo>
                  <a:cubicBezTo>
                    <a:pt x="268" y="116"/>
                    <a:pt x="306" y="222"/>
                    <a:pt x="344" y="328"/>
                  </a:cubicBezTo>
                  <a:cubicBezTo>
                    <a:pt x="349" y="343"/>
                    <a:pt x="354" y="359"/>
                    <a:pt x="360" y="375"/>
                  </a:cubicBezTo>
                  <a:close/>
                  <a:moveTo>
                    <a:pt x="131" y="221"/>
                  </a:moveTo>
                  <a:cubicBezTo>
                    <a:pt x="165" y="221"/>
                    <a:pt x="197" y="221"/>
                    <a:pt x="230" y="221"/>
                  </a:cubicBezTo>
                  <a:cubicBezTo>
                    <a:pt x="214" y="167"/>
                    <a:pt x="197" y="114"/>
                    <a:pt x="181" y="61"/>
                  </a:cubicBezTo>
                  <a:cubicBezTo>
                    <a:pt x="180" y="61"/>
                    <a:pt x="180" y="61"/>
                    <a:pt x="179" y="61"/>
                  </a:cubicBezTo>
                  <a:cubicBezTo>
                    <a:pt x="163" y="114"/>
                    <a:pt x="147" y="167"/>
                    <a:pt x="131" y="22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 name="Freeform 8"/>
            <p:cNvSpPr>
              <a:spLocks/>
            </p:cNvSpPr>
            <p:nvPr userDrawn="1"/>
          </p:nvSpPr>
          <p:spPr bwMode="auto">
            <a:xfrm>
              <a:off x="7556500" y="1144588"/>
              <a:ext cx="1060450" cy="1414463"/>
            </a:xfrm>
            <a:custGeom>
              <a:avLst/>
              <a:gdLst>
                <a:gd name="T0" fmla="*/ 180 w 282"/>
                <a:gd name="T1" fmla="*/ 222 h 376"/>
                <a:gd name="T2" fmla="*/ 180 w 282"/>
                <a:gd name="T3" fmla="*/ 365 h 376"/>
                <a:gd name="T4" fmla="*/ 169 w 282"/>
                <a:gd name="T5" fmla="*/ 376 h 376"/>
                <a:gd name="T6" fmla="*/ 113 w 282"/>
                <a:gd name="T7" fmla="*/ 376 h 376"/>
                <a:gd name="T8" fmla="*/ 102 w 282"/>
                <a:gd name="T9" fmla="*/ 365 h 376"/>
                <a:gd name="T10" fmla="*/ 102 w 282"/>
                <a:gd name="T11" fmla="*/ 81 h 376"/>
                <a:gd name="T12" fmla="*/ 88 w 282"/>
                <a:gd name="T13" fmla="*/ 66 h 376"/>
                <a:gd name="T14" fmla="*/ 9 w 282"/>
                <a:gd name="T15" fmla="*/ 66 h 376"/>
                <a:gd name="T16" fmla="*/ 0 w 282"/>
                <a:gd name="T17" fmla="*/ 58 h 376"/>
                <a:gd name="T18" fmla="*/ 0 w 282"/>
                <a:gd name="T19" fmla="*/ 9 h 376"/>
                <a:gd name="T20" fmla="*/ 8 w 282"/>
                <a:gd name="T21" fmla="*/ 0 h 376"/>
                <a:gd name="T22" fmla="*/ 273 w 282"/>
                <a:gd name="T23" fmla="*/ 0 h 376"/>
                <a:gd name="T24" fmla="*/ 281 w 282"/>
                <a:gd name="T25" fmla="*/ 9 h 376"/>
                <a:gd name="T26" fmla="*/ 281 w 282"/>
                <a:gd name="T27" fmla="*/ 58 h 376"/>
                <a:gd name="T28" fmla="*/ 273 w 282"/>
                <a:gd name="T29" fmla="*/ 66 h 376"/>
                <a:gd name="T30" fmla="*/ 189 w 282"/>
                <a:gd name="T31" fmla="*/ 66 h 376"/>
                <a:gd name="T32" fmla="*/ 179 w 282"/>
                <a:gd name="T33" fmla="*/ 76 h 376"/>
                <a:gd name="T34" fmla="*/ 180 w 282"/>
                <a:gd name="T35" fmla="*/ 22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376">
                  <a:moveTo>
                    <a:pt x="180" y="222"/>
                  </a:moveTo>
                  <a:cubicBezTo>
                    <a:pt x="180" y="269"/>
                    <a:pt x="179" y="317"/>
                    <a:pt x="180" y="365"/>
                  </a:cubicBezTo>
                  <a:cubicBezTo>
                    <a:pt x="180" y="373"/>
                    <a:pt x="178" y="376"/>
                    <a:pt x="169" y="376"/>
                  </a:cubicBezTo>
                  <a:cubicBezTo>
                    <a:pt x="150" y="375"/>
                    <a:pt x="131" y="375"/>
                    <a:pt x="113" y="376"/>
                  </a:cubicBezTo>
                  <a:cubicBezTo>
                    <a:pt x="104" y="376"/>
                    <a:pt x="102" y="373"/>
                    <a:pt x="102" y="365"/>
                  </a:cubicBezTo>
                  <a:cubicBezTo>
                    <a:pt x="102" y="270"/>
                    <a:pt x="102" y="175"/>
                    <a:pt x="102" y="81"/>
                  </a:cubicBezTo>
                  <a:cubicBezTo>
                    <a:pt x="102" y="66"/>
                    <a:pt x="102" y="66"/>
                    <a:pt x="88" y="66"/>
                  </a:cubicBezTo>
                  <a:cubicBezTo>
                    <a:pt x="61" y="66"/>
                    <a:pt x="35" y="66"/>
                    <a:pt x="9" y="66"/>
                  </a:cubicBezTo>
                  <a:cubicBezTo>
                    <a:pt x="2" y="67"/>
                    <a:pt x="0" y="65"/>
                    <a:pt x="0" y="58"/>
                  </a:cubicBezTo>
                  <a:cubicBezTo>
                    <a:pt x="0" y="41"/>
                    <a:pt x="0" y="25"/>
                    <a:pt x="0" y="9"/>
                  </a:cubicBezTo>
                  <a:cubicBezTo>
                    <a:pt x="0" y="3"/>
                    <a:pt x="2" y="0"/>
                    <a:pt x="8" y="0"/>
                  </a:cubicBezTo>
                  <a:cubicBezTo>
                    <a:pt x="97" y="1"/>
                    <a:pt x="185" y="1"/>
                    <a:pt x="273" y="0"/>
                  </a:cubicBezTo>
                  <a:cubicBezTo>
                    <a:pt x="279" y="0"/>
                    <a:pt x="282" y="2"/>
                    <a:pt x="281" y="9"/>
                  </a:cubicBezTo>
                  <a:cubicBezTo>
                    <a:pt x="281" y="25"/>
                    <a:pt x="281" y="41"/>
                    <a:pt x="281" y="58"/>
                  </a:cubicBezTo>
                  <a:cubicBezTo>
                    <a:pt x="282" y="64"/>
                    <a:pt x="279" y="67"/>
                    <a:pt x="273" y="66"/>
                  </a:cubicBezTo>
                  <a:cubicBezTo>
                    <a:pt x="245" y="66"/>
                    <a:pt x="217" y="67"/>
                    <a:pt x="189" y="66"/>
                  </a:cubicBezTo>
                  <a:cubicBezTo>
                    <a:pt x="182" y="66"/>
                    <a:pt x="179" y="68"/>
                    <a:pt x="179" y="76"/>
                  </a:cubicBezTo>
                  <a:cubicBezTo>
                    <a:pt x="180" y="124"/>
                    <a:pt x="180" y="173"/>
                    <a:pt x="180" y="22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 name="Freeform 9"/>
            <p:cNvSpPr>
              <a:spLocks/>
            </p:cNvSpPr>
            <p:nvPr userDrawn="1"/>
          </p:nvSpPr>
          <p:spPr bwMode="auto">
            <a:xfrm>
              <a:off x="6577013" y="1144588"/>
              <a:ext cx="863600" cy="1414463"/>
            </a:xfrm>
            <a:custGeom>
              <a:avLst/>
              <a:gdLst>
                <a:gd name="T0" fmla="*/ 0 w 230"/>
                <a:gd name="T1" fmla="*/ 188 h 376"/>
                <a:gd name="T2" fmla="*/ 0 w 230"/>
                <a:gd name="T3" fmla="*/ 11 h 376"/>
                <a:gd name="T4" fmla="*/ 11 w 230"/>
                <a:gd name="T5" fmla="*/ 0 h 376"/>
                <a:gd name="T6" fmla="*/ 65 w 230"/>
                <a:gd name="T7" fmla="*/ 0 h 376"/>
                <a:gd name="T8" fmla="*/ 78 w 230"/>
                <a:gd name="T9" fmla="*/ 12 h 376"/>
                <a:gd name="T10" fmla="*/ 78 w 230"/>
                <a:gd name="T11" fmla="*/ 294 h 376"/>
                <a:gd name="T12" fmla="*/ 78 w 230"/>
                <a:gd name="T13" fmla="*/ 302 h 376"/>
                <a:gd name="T14" fmla="*/ 87 w 230"/>
                <a:gd name="T15" fmla="*/ 312 h 376"/>
                <a:gd name="T16" fmla="*/ 220 w 230"/>
                <a:gd name="T17" fmla="*/ 312 h 376"/>
                <a:gd name="T18" fmla="*/ 230 w 230"/>
                <a:gd name="T19" fmla="*/ 321 h 376"/>
                <a:gd name="T20" fmla="*/ 230 w 230"/>
                <a:gd name="T21" fmla="*/ 367 h 376"/>
                <a:gd name="T22" fmla="*/ 221 w 230"/>
                <a:gd name="T23" fmla="*/ 376 h 376"/>
                <a:gd name="T24" fmla="*/ 8 w 230"/>
                <a:gd name="T25" fmla="*/ 376 h 376"/>
                <a:gd name="T26" fmla="*/ 0 w 230"/>
                <a:gd name="T27" fmla="*/ 365 h 376"/>
                <a:gd name="T28" fmla="*/ 0 w 230"/>
                <a:gd name="T29" fmla="*/ 18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376">
                  <a:moveTo>
                    <a:pt x="0" y="188"/>
                  </a:moveTo>
                  <a:cubicBezTo>
                    <a:pt x="0" y="129"/>
                    <a:pt x="0" y="70"/>
                    <a:pt x="0" y="11"/>
                  </a:cubicBezTo>
                  <a:cubicBezTo>
                    <a:pt x="0" y="3"/>
                    <a:pt x="2" y="0"/>
                    <a:pt x="11" y="0"/>
                  </a:cubicBezTo>
                  <a:cubicBezTo>
                    <a:pt x="29" y="1"/>
                    <a:pt x="47" y="1"/>
                    <a:pt x="65" y="0"/>
                  </a:cubicBezTo>
                  <a:cubicBezTo>
                    <a:pt x="75" y="0"/>
                    <a:pt x="78" y="2"/>
                    <a:pt x="78" y="12"/>
                  </a:cubicBezTo>
                  <a:cubicBezTo>
                    <a:pt x="78" y="106"/>
                    <a:pt x="78" y="200"/>
                    <a:pt x="78" y="294"/>
                  </a:cubicBezTo>
                  <a:cubicBezTo>
                    <a:pt x="78" y="296"/>
                    <a:pt x="78" y="299"/>
                    <a:pt x="78" y="302"/>
                  </a:cubicBezTo>
                  <a:cubicBezTo>
                    <a:pt x="77" y="310"/>
                    <a:pt x="80" y="312"/>
                    <a:pt x="87" y="312"/>
                  </a:cubicBezTo>
                  <a:cubicBezTo>
                    <a:pt x="131" y="312"/>
                    <a:pt x="176" y="312"/>
                    <a:pt x="220" y="312"/>
                  </a:cubicBezTo>
                  <a:cubicBezTo>
                    <a:pt x="227" y="311"/>
                    <a:pt x="230" y="313"/>
                    <a:pt x="230" y="321"/>
                  </a:cubicBezTo>
                  <a:cubicBezTo>
                    <a:pt x="229" y="337"/>
                    <a:pt x="229" y="352"/>
                    <a:pt x="230" y="367"/>
                  </a:cubicBezTo>
                  <a:cubicBezTo>
                    <a:pt x="230" y="373"/>
                    <a:pt x="228" y="376"/>
                    <a:pt x="221" y="376"/>
                  </a:cubicBezTo>
                  <a:cubicBezTo>
                    <a:pt x="150" y="375"/>
                    <a:pt x="79" y="375"/>
                    <a:pt x="8" y="376"/>
                  </a:cubicBezTo>
                  <a:cubicBezTo>
                    <a:pt x="0" y="376"/>
                    <a:pt x="0" y="371"/>
                    <a:pt x="0" y="365"/>
                  </a:cubicBezTo>
                  <a:cubicBezTo>
                    <a:pt x="0" y="306"/>
                    <a:pt x="0" y="247"/>
                    <a:pt x="0" y="18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 name="Freeform 10"/>
            <p:cNvSpPr>
              <a:spLocks/>
            </p:cNvSpPr>
            <p:nvPr userDrawn="1"/>
          </p:nvSpPr>
          <p:spPr bwMode="auto">
            <a:xfrm>
              <a:off x="5021263" y="3617913"/>
              <a:ext cx="6443662" cy="63500"/>
            </a:xfrm>
            <a:custGeom>
              <a:avLst/>
              <a:gdLst>
                <a:gd name="T0" fmla="*/ 1715 w 1715"/>
                <a:gd name="T1" fmla="*/ 0 h 17"/>
                <a:gd name="T2" fmla="*/ 1715 w 1715"/>
                <a:gd name="T3" fmla="*/ 17 h 17"/>
                <a:gd name="T4" fmla="*/ 0 w 1715"/>
                <a:gd name="T5" fmla="*/ 17 h 17"/>
                <a:gd name="T6" fmla="*/ 0 w 1715"/>
                <a:gd name="T7" fmla="*/ 0 h 17"/>
                <a:gd name="T8" fmla="*/ 1715 w 1715"/>
                <a:gd name="T9" fmla="*/ 0 h 17"/>
              </a:gdLst>
              <a:ahLst/>
              <a:cxnLst>
                <a:cxn ang="0">
                  <a:pos x="T0" y="T1"/>
                </a:cxn>
                <a:cxn ang="0">
                  <a:pos x="T2" y="T3"/>
                </a:cxn>
                <a:cxn ang="0">
                  <a:pos x="T4" y="T5"/>
                </a:cxn>
                <a:cxn ang="0">
                  <a:pos x="T6" y="T7"/>
                </a:cxn>
                <a:cxn ang="0">
                  <a:pos x="T8" y="T9"/>
                </a:cxn>
              </a:cxnLst>
              <a:rect l="0" t="0" r="r" b="b"/>
              <a:pathLst>
                <a:path w="1715" h="17">
                  <a:moveTo>
                    <a:pt x="1715" y="0"/>
                  </a:moveTo>
                  <a:cubicBezTo>
                    <a:pt x="1715" y="6"/>
                    <a:pt x="1715" y="11"/>
                    <a:pt x="1715" y="17"/>
                  </a:cubicBezTo>
                  <a:cubicBezTo>
                    <a:pt x="1143" y="17"/>
                    <a:pt x="572" y="17"/>
                    <a:pt x="0" y="17"/>
                  </a:cubicBezTo>
                  <a:cubicBezTo>
                    <a:pt x="0" y="11"/>
                    <a:pt x="0" y="6"/>
                    <a:pt x="0" y="0"/>
                  </a:cubicBezTo>
                  <a:cubicBezTo>
                    <a:pt x="572" y="0"/>
                    <a:pt x="1143" y="0"/>
                    <a:pt x="1715" y="0"/>
                  </a:cubicBezTo>
                  <a:close/>
                </a:path>
              </a:pathLst>
            </a:custGeom>
            <a:solidFill>
              <a:srgbClr val="A50C0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 name="Freeform 11"/>
            <p:cNvSpPr>
              <a:spLocks/>
            </p:cNvSpPr>
            <p:nvPr userDrawn="1"/>
          </p:nvSpPr>
          <p:spPr bwMode="auto">
            <a:xfrm>
              <a:off x="5021263" y="900113"/>
              <a:ext cx="4305300" cy="66675"/>
            </a:xfrm>
            <a:custGeom>
              <a:avLst/>
              <a:gdLst>
                <a:gd name="T0" fmla="*/ 1146 w 1146"/>
                <a:gd name="T1" fmla="*/ 0 h 18"/>
                <a:gd name="T2" fmla="*/ 1116 w 1146"/>
                <a:gd name="T3" fmla="*/ 18 h 18"/>
                <a:gd name="T4" fmla="*/ 15 w 1146"/>
                <a:gd name="T5" fmla="*/ 17 h 18"/>
                <a:gd name="T6" fmla="*/ 0 w 1146"/>
                <a:gd name="T7" fmla="*/ 17 h 18"/>
                <a:gd name="T8" fmla="*/ 0 w 1146"/>
                <a:gd name="T9" fmla="*/ 0 h 18"/>
                <a:gd name="T10" fmla="*/ 1146 w 1146"/>
                <a:gd name="T11" fmla="*/ 0 h 18"/>
              </a:gdLst>
              <a:ahLst/>
              <a:cxnLst>
                <a:cxn ang="0">
                  <a:pos x="T0" y="T1"/>
                </a:cxn>
                <a:cxn ang="0">
                  <a:pos x="T2" y="T3"/>
                </a:cxn>
                <a:cxn ang="0">
                  <a:pos x="T4" y="T5"/>
                </a:cxn>
                <a:cxn ang="0">
                  <a:pos x="T6" y="T7"/>
                </a:cxn>
                <a:cxn ang="0">
                  <a:pos x="T8" y="T9"/>
                </a:cxn>
                <a:cxn ang="0">
                  <a:pos x="T10" y="T11"/>
                </a:cxn>
              </a:cxnLst>
              <a:rect l="0" t="0" r="r" b="b"/>
              <a:pathLst>
                <a:path w="1146" h="18">
                  <a:moveTo>
                    <a:pt x="1146" y="0"/>
                  </a:moveTo>
                  <a:cubicBezTo>
                    <a:pt x="1140" y="13"/>
                    <a:pt x="1131" y="18"/>
                    <a:pt x="1116" y="18"/>
                  </a:cubicBezTo>
                  <a:cubicBezTo>
                    <a:pt x="749" y="17"/>
                    <a:pt x="382" y="17"/>
                    <a:pt x="15" y="17"/>
                  </a:cubicBezTo>
                  <a:cubicBezTo>
                    <a:pt x="11" y="17"/>
                    <a:pt x="6" y="17"/>
                    <a:pt x="0" y="17"/>
                  </a:cubicBezTo>
                  <a:cubicBezTo>
                    <a:pt x="0" y="11"/>
                    <a:pt x="0" y="6"/>
                    <a:pt x="0" y="0"/>
                  </a:cubicBezTo>
                  <a:cubicBezTo>
                    <a:pt x="382" y="0"/>
                    <a:pt x="764" y="0"/>
                    <a:pt x="1146" y="0"/>
                  </a:cubicBezTo>
                  <a:close/>
                </a:path>
              </a:pathLst>
            </a:custGeom>
            <a:solidFill>
              <a:srgbClr val="A50C0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 name="Freeform 12"/>
            <p:cNvSpPr>
              <a:spLocks noEditPoints="1"/>
            </p:cNvSpPr>
            <p:nvPr userDrawn="1"/>
          </p:nvSpPr>
          <p:spPr bwMode="auto">
            <a:xfrm>
              <a:off x="8089900" y="2863850"/>
              <a:ext cx="481012" cy="569913"/>
            </a:xfrm>
            <a:custGeom>
              <a:avLst/>
              <a:gdLst>
                <a:gd name="T0" fmla="*/ 1 w 128"/>
                <a:gd name="T1" fmla="*/ 75 h 151"/>
                <a:gd name="T2" fmla="*/ 1 w 128"/>
                <a:gd name="T3" fmla="*/ 9 h 151"/>
                <a:gd name="T4" fmla="*/ 5 w 128"/>
                <a:gd name="T5" fmla="*/ 1 h 151"/>
                <a:gd name="T6" fmla="*/ 72 w 128"/>
                <a:gd name="T7" fmla="*/ 4 h 151"/>
                <a:gd name="T8" fmla="*/ 123 w 128"/>
                <a:gd name="T9" fmla="*/ 86 h 151"/>
                <a:gd name="T10" fmla="*/ 49 w 128"/>
                <a:gd name="T11" fmla="*/ 151 h 151"/>
                <a:gd name="T12" fmla="*/ 9 w 128"/>
                <a:gd name="T13" fmla="*/ 151 h 151"/>
                <a:gd name="T14" fmla="*/ 0 w 128"/>
                <a:gd name="T15" fmla="*/ 142 h 151"/>
                <a:gd name="T16" fmla="*/ 1 w 128"/>
                <a:gd name="T17" fmla="*/ 75 h 151"/>
                <a:gd name="T18" fmla="*/ 45 w 128"/>
                <a:gd name="T19" fmla="*/ 26 h 151"/>
                <a:gd name="T20" fmla="*/ 31 w 128"/>
                <a:gd name="T21" fmla="*/ 33 h 151"/>
                <a:gd name="T22" fmla="*/ 31 w 128"/>
                <a:gd name="T23" fmla="*/ 119 h 151"/>
                <a:gd name="T24" fmla="*/ 36 w 128"/>
                <a:gd name="T25" fmla="*/ 125 h 151"/>
                <a:gd name="T26" fmla="*/ 92 w 128"/>
                <a:gd name="T27" fmla="*/ 86 h 151"/>
                <a:gd name="T28" fmla="*/ 45 w 128"/>
                <a:gd name="T2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1">
                  <a:moveTo>
                    <a:pt x="1" y="75"/>
                  </a:moveTo>
                  <a:cubicBezTo>
                    <a:pt x="1" y="53"/>
                    <a:pt x="0" y="31"/>
                    <a:pt x="1" y="9"/>
                  </a:cubicBezTo>
                  <a:cubicBezTo>
                    <a:pt x="1" y="6"/>
                    <a:pt x="4" y="1"/>
                    <a:pt x="5" y="1"/>
                  </a:cubicBezTo>
                  <a:cubicBezTo>
                    <a:pt x="28" y="1"/>
                    <a:pt x="50" y="0"/>
                    <a:pt x="72" y="4"/>
                  </a:cubicBezTo>
                  <a:cubicBezTo>
                    <a:pt x="114" y="12"/>
                    <a:pt x="128" y="50"/>
                    <a:pt x="123" y="86"/>
                  </a:cubicBezTo>
                  <a:cubicBezTo>
                    <a:pt x="117" y="137"/>
                    <a:pt x="83" y="148"/>
                    <a:pt x="49" y="151"/>
                  </a:cubicBezTo>
                  <a:cubicBezTo>
                    <a:pt x="36" y="151"/>
                    <a:pt x="22" y="150"/>
                    <a:pt x="9" y="151"/>
                  </a:cubicBezTo>
                  <a:cubicBezTo>
                    <a:pt x="2" y="151"/>
                    <a:pt x="0" y="149"/>
                    <a:pt x="0" y="142"/>
                  </a:cubicBezTo>
                  <a:cubicBezTo>
                    <a:pt x="1" y="120"/>
                    <a:pt x="1" y="98"/>
                    <a:pt x="1" y="75"/>
                  </a:cubicBezTo>
                  <a:close/>
                  <a:moveTo>
                    <a:pt x="45" y="26"/>
                  </a:moveTo>
                  <a:cubicBezTo>
                    <a:pt x="41" y="28"/>
                    <a:pt x="31" y="21"/>
                    <a:pt x="31" y="33"/>
                  </a:cubicBezTo>
                  <a:cubicBezTo>
                    <a:pt x="30" y="61"/>
                    <a:pt x="30" y="90"/>
                    <a:pt x="31" y="119"/>
                  </a:cubicBezTo>
                  <a:cubicBezTo>
                    <a:pt x="31" y="121"/>
                    <a:pt x="34" y="125"/>
                    <a:pt x="36" y="125"/>
                  </a:cubicBezTo>
                  <a:cubicBezTo>
                    <a:pt x="65" y="131"/>
                    <a:pt x="87" y="116"/>
                    <a:pt x="92" y="86"/>
                  </a:cubicBezTo>
                  <a:cubicBezTo>
                    <a:pt x="96" y="56"/>
                    <a:pt x="86" y="24"/>
                    <a:pt x="45" y="2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 name="Freeform 13"/>
            <p:cNvSpPr>
              <a:spLocks noEditPoints="1"/>
            </p:cNvSpPr>
            <p:nvPr userDrawn="1"/>
          </p:nvSpPr>
          <p:spPr bwMode="auto">
            <a:xfrm>
              <a:off x="5106988" y="2863850"/>
              <a:ext cx="439737" cy="573088"/>
            </a:xfrm>
            <a:custGeom>
              <a:avLst/>
              <a:gdLst>
                <a:gd name="T0" fmla="*/ 117 w 117"/>
                <a:gd name="T1" fmla="*/ 150 h 152"/>
                <a:gd name="T2" fmla="*/ 114 w 117"/>
                <a:gd name="T3" fmla="*/ 151 h 152"/>
                <a:gd name="T4" fmla="*/ 70 w 117"/>
                <a:gd name="T5" fmla="*/ 127 h 152"/>
                <a:gd name="T6" fmla="*/ 52 w 117"/>
                <a:gd name="T7" fmla="*/ 99 h 152"/>
                <a:gd name="T8" fmla="*/ 34 w 117"/>
                <a:gd name="T9" fmla="*/ 94 h 152"/>
                <a:gd name="T10" fmla="*/ 30 w 117"/>
                <a:gd name="T11" fmla="*/ 105 h 152"/>
                <a:gd name="T12" fmla="*/ 30 w 117"/>
                <a:gd name="T13" fmla="*/ 141 h 152"/>
                <a:gd name="T14" fmla="*/ 21 w 117"/>
                <a:gd name="T15" fmla="*/ 151 h 152"/>
                <a:gd name="T16" fmla="*/ 0 w 117"/>
                <a:gd name="T17" fmla="*/ 130 h 152"/>
                <a:gd name="T18" fmla="*/ 0 w 117"/>
                <a:gd name="T19" fmla="*/ 10 h 152"/>
                <a:gd name="T20" fmla="*/ 9 w 117"/>
                <a:gd name="T21" fmla="*/ 0 h 152"/>
                <a:gd name="T22" fmla="*/ 61 w 117"/>
                <a:gd name="T23" fmla="*/ 2 h 152"/>
                <a:gd name="T24" fmla="*/ 101 w 117"/>
                <a:gd name="T25" fmla="*/ 33 h 152"/>
                <a:gd name="T26" fmla="*/ 80 w 117"/>
                <a:gd name="T27" fmla="*/ 82 h 152"/>
                <a:gd name="T28" fmla="*/ 74 w 117"/>
                <a:gd name="T29" fmla="*/ 87 h 152"/>
                <a:gd name="T30" fmla="*/ 117 w 117"/>
                <a:gd name="T31" fmla="*/ 150 h 152"/>
                <a:gd name="T32" fmla="*/ 30 w 117"/>
                <a:gd name="T33" fmla="*/ 46 h 152"/>
                <a:gd name="T34" fmla="*/ 28 w 117"/>
                <a:gd name="T35" fmla="*/ 46 h 152"/>
                <a:gd name="T36" fmla="*/ 32 w 117"/>
                <a:gd name="T37" fmla="*/ 66 h 152"/>
                <a:gd name="T38" fmla="*/ 60 w 117"/>
                <a:gd name="T39" fmla="*/ 65 h 152"/>
                <a:gd name="T40" fmla="*/ 63 w 117"/>
                <a:gd name="T41" fmla="*/ 63 h 152"/>
                <a:gd name="T42" fmla="*/ 70 w 117"/>
                <a:gd name="T43" fmla="*/ 53 h 152"/>
                <a:gd name="T44" fmla="*/ 65 w 117"/>
                <a:gd name="T45" fmla="*/ 32 h 152"/>
                <a:gd name="T46" fmla="*/ 33 w 117"/>
                <a:gd name="T47" fmla="*/ 27 h 152"/>
                <a:gd name="T48" fmla="*/ 30 w 117"/>
                <a:gd name="T49" fmla="*/ 44 h 152"/>
                <a:gd name="T50" fmla="*/ 30 w 117"/>
                <a:gd name="T51" fmla="*/ 4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7" h="152">
                  <a:moveTo>
                    <a:pt x="117" y="150"/>
                  </a:moveTo>
                  <a:cubicBezTo>
                    <a:pt x="115" y="150"/>
                    <a:pt x="114" y="151"/>
                    <a:pt x="114" y="151"/>
                  </a:cubicBezTo>
                  <a:cubicBezTo>
                    <a:pt x="85" y="152"/>
                    <a:pt x="85" y="152"/>
                    <a:pt x="70" y="127"/>
                  </a:cubicBezTo>
                  <a:cubicBezTo>
                    <a:pt x="64" y="118"/>
                    <a:pt x="57" y="109"/>
                    <a:pt x="52" y="99"/>
                  </a:cubicBezTo>
                  <a:cubicBezTo>
                    <a:pt x="47" y="90"/>
                    <a:pt x="40" y="93"/>
                    <a:pt x="34" y="94"/>
                  </a:cubicBezTo>
                  <a:cubicBezTo>
                    <a:pt x="32" y="94"/>
                    <a:pt x="30" y="101"/>
                    <a:pt x="30" y="105"/>
                  </a:cubicBezTo>
                  <a:cubicBezTo>
                    <a:pt x="29" y="117"/>
                    <a:pt x="29" y="129"/>
                    <a:pt x="30" y="141"/>
                  </a:cubicBezTo>
                  <a:cubicBezTo>
                    <a:pt x="30" y="148"/>
                    <a:pt x="28" y="151"/>
                    <a:pt x="21" y="151"/>
                  </a:cubicBezTo>
                  <a:cubicBezTo>
                    <a:pt x="0" y="151"/>
                    <a:pt x="0" y="151"/>
                    <a:pt x="0" y="130"/>
                  </a:cubicBezTo>
                  <a:cubicBezTo>
                    <a:pt x="0" y="90"/>
                    <a:pt x="0" y="50"/>
                    <a:pt x="0" y="10"/>
                  </a:cubicBezTo>
                  <a:cubicBezTo>
                    <a:pt x="0" y="3"/>
                    <a:pt x="1" y="0"/>
                    <a:pt x="9" y="0"/>
                  </a:cubicBezTo>
                  <a:cubicBezTo>
                    <a:pt x="26" y="1"/>
                    <a:pt x="44" y="1"/>
                    <a:pt x="61" y="2"/>
                  </a:cubicBezTo>
                  <a:cubicBezTo>
                    <a:pt x="84" y="4"/>
                    <a:pt x="96" y="15"/>
                    <a:pt x="101" y="33"/>
                  </a:cubicBezTo>
                  <a:cubicBezTo>
                    <a:pt x="105" y="54"/>
                    <a:pt x="99" y="70"/>
                    <a:pt x="80" y="82"/>
                  </a:cubicBezTo>
                  <a:cubicBezTo>
                    <a:pt x="78" y="83"/>
                    <a:pt x="77" y="85"/>
                    <a:pt x="74" y="87"/>
                  </a:cubicBezTo>
                  <a:cubicBezTo>
                    <a:pt x="88" y="108"/>
                    <a:pt x="102" y="128"/>
                    <a:pt x="117" y="150"/>
                  </a:cubicBezTo>
                  <a:close/>
                  <a:moveTo>
                    <a:pt x="30" y="46"/>
                  </a:moveTo>
                  <a:cubicBezTo>
                    <a:pt x="29" y="46"/>
                    <a:pt x="29" y="46"/>
                    <a:pt x="28" y="46"/>
                  </a:cubicBezTo>
                  <a:cubicBezTo>
                    <a:pt x="30" y="53"/>
                    <a:pt x="30" y="65"/>
                    <a:pt x="32" y="66"/>
                  </a:cubicBezTo>
                  <a:cubicBezTo>
                    <a:pt x="41" y="68"/>
                    <a:pt x="50" y="66"/>
                    <a:pt x="60" y="65"/>
                  </a:cubicBezTo>
                  <a:cubicBezTo>
                    <a:pt x="61" y="65"/>
                    <a:pt x="62" y="64"/>
                    <a:pt x="63" y="63"/>
                  </a:cubicBezTo>
                  <a:cubicBezTo>
                    <a:pt x="66" y="60"/>
                    <a:pt x="69" y="57"/>
                    <a:pt x="70" y="53"/>
                  </a:cubicBezTo>
                  <a:cubicBezTo>
                    <a:pt x="73" y="45"/>
                    <a:pt x="72" y="37"/>
                    <a:pt x="65" y="32"/>
                  </a:cubicBezTo>
                  <a:cubicBezTo>
                    <a:pt x="56" y="25"/>
                    <a:pt x="44" y="25"/>
                    <a:pt x="33" y="27"/>
                  </a:cubicBezTo>
                  <a:cubicBezTo>
                    <a:pt x="31" y="28"/>
                    <a:pt x="31" y="38"/>
                    <a:pt x="30" y="44"/>
                  </a:cubicBezTo>
                  <a:cubicBezTo>
                    <a:pt x="29" y="45"/>
                    <a:pt x="30" y="45"/>
                    <a:pt x="30" y="4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 name="Freeform 14"/>
            <p:cNvSpPr>
              <a:spLocks/>
            </p:cNvSpPr>
            <p:nvPr userDrawn="1"/>
          </p:nvSpPr>
          <p:spPr bwMode="auto">
            <a:xfrm>
              <a:off x="6632575" y="2863850"/>
              <a:ext cx="327025" cy="576263"/>
            </a:xfrm>
            <a:custGeom>
              <a:avLst/>
              <a:gdLst>
                <a:gd name="T0" fmla="*/ 1 w 87"/>
                <a:gd name="T1" fmla="*/ 76 h 153"/>
                <a:gd name="T2" fmla="*/ 1 w 87"/>
                <a:gd name="T3" fmla="*/ 10 h 153"/>
                <a:gd name="T4" fmla="*/ 10 w 87"/>
                <a:gd name="T5" fmla="*/ 0 h 153"/>
                <a:gd name="T6" fmla="*/ 76 w 87"/>
                <a:gd name="T7" fmla="*/ 0 h 153"/>
                <a:gd name="T8" fmla="*/ 86 w 87"/>
                <a:gd name="T9" fmla="*/ 10 h 153"/>
                <a:gd name="T10" fmla="*/ 86 w 87"/>
                <a:gd name="T11" fmla="*/ 15 h 153"/>
                <a:gd name="T12" fmla="*/ 75 w 87"/>
                <a:gd name="T13" fmla="*/ 26 h 153"/>
                <a:gd name="T14" fmla="*/ 39 w 87"/>
                <a:gd name="T15" fmla="*/ 26 h 153"/>
                <a:gd name="T16" fmla="*/ 31 w 87"/>
                <a:gd name="T17" fmla="*/ 33 h 153"/>
                <a:gd name="T18" fmla="*/ 55 w 87"/>
                <a:gd name="T19" fmla="*/ 60 h 153"/>
                <a:gd name="T20" fmla="*/ 74 w 87"/>
                <a:gd name="T21" fmla="*/ 60 h 153"/>
                <a:gd name="T22" fmla="*/ 82 w 87"/>
                <a:gd name="T23" fmla="*/ 68 h 153"/>
                <a:gd name="T24" fmla="*/ 82 w 87"/>
                <a:gd name="T25" fmla="*/ 72 h 153"/>
                <a:gd name="T26" fmla="*/ 69 w 87"/>
                <a:gd name="T27" fmla="*/ 85 h 153"/>
                <a:gd name="T28" fmla="*/ 39 w 87"/>
                <a:gd name="T29" fmla="*/ 85 h 153"/>
                <a:gd name="T30" fmla="*/ 31 w 87"/>
                <a:gd name="T31" fmla="*/ 93 h 153"/>
                <a:gd name="T32" fmla="*/ 31 w 87"/>
                <a:gd name="T33" fmla="*/ 118 h 153"/>
                <a:gd name="T34" fmla="*/ 39 w 87"/>
                <a:gd name="T35" fmla="*/ 126 h 153"/>
                <a:gd name="T36" fmla="*/ 78 w 87"/>
                <a:gd name="T37" fmla="*/ 125 h 153"/>
                <a:gd name="T38" fmla="*/ 86 w 87"/>
                <a:gd name="T39" fmla="*/ 133 h 153"/>
                <a:gd name="T40" fmla="*/ 86 w 87"/>
                <a:gd name="T41" fmla="*/ 135 h 153"/>
                <a:gd name="T42" fmla="*/ 71 w 87"/>
                <a:gd name="T43" fmla="*/ 151 h 153"/>
                <a:gd name="T44" fmla="*/ 11 w 87"/>
                <a:gd name="T45" fmla="*/ 151 h 153"/>
                <a:gd name="T46" fmla="*/ 1 w 87"/>
                <a:gd name="T47" fmla="*/ 140 h 153"/>
                <a:gd name="T48" fmla="*/ 1 w 87"/>
                <a:gd name="T49"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53">
                  <a:moveTo>
                    <a:pt x="1" y="76"/>
                  </a:moveTo>
                  <a:cubicBezTo>
                    <a:pt x="1" y="54"/>
                    <a:pt x="1" y="32"/>
                    <a:pt x="1" y="10"/>
                  </a:cubicBezTo>
                  <a:cubicBezTo>
                    <a:pt x="0" y="3"/>
                    <a:pt x="2" y="0"/>
                    <a:pt x="10" y="0"/>
                  </a:cubicBezTo>
                  <a:cubicBezTo>
                    <a:pt x="32" y="1"/>
                    <a:pt x="54" y="1"/>
                    <a:pt x="76" y="0"/>
                  </a:cubicBezTo>
                  <a:cubicBezTo>
                    <a:pt x="84" y="0"/>
                    <a:pt x="87" y="3"/>
                    <a:pt x="86" y="10"/>
                  </a:cubicBezTo>
                  <a:cubicBezTo>
                    <a:pt x="86" y="12"/>
                    <a:pt x="86" y="14"/>
                    <a:pt x="86" y="15"/>
                  </a:cubicBezTo>
                  <a:cubicBezTo>
                    <a:pt x="87" y="24"/>
                    <a:pt x="84" y="27"/>
                    <a:pt x="75" y="26"/>
                  </a:cubicBezTo>
                  <a:cubicBezTo>
                    <a:pt x="63" y="25"/>
                    <a:pt x="51" y="26"/>
                    <a:pt x="39" y="26"/>
                  </a:cubicBezTo>
                  <a:cubicBezTo>
                    <a:pt x="33" y="26"/>
                    <a:pt x="31" y="28"/>
                    <a:pt x="31" y="33"/>
                  </a:cubicBezTo>
                  <a:cubicBezTo>
                    <a:pt x="29" y="60"/>
                    <a:pt x="28" y="60"/>
                    <a:pt x="55" y="60"/>
                  </a:cubicBezTo>
                  <a:cubicBezTo>
                    <a:pt x="62" y="60"/>
                    <a:pt x="68" y="60"/>
                    <a:pt x="74" y="60"/>
                  </a:cubicBezTo>
                  <a:cubicBezTo>
                    <a:pt x="80" y="60"/>
                    <a:pt x="82" y="62"/>
                    <a:pt x="82" y="68"/>
                  </a:cubicBezTo>
                  <a:cubicBezTo>
                    <a:pt x="82" y="69"/>
                    <a:pt x="82" y="71"/>
                    <a:pt x="82" y="72"/>
                  </a:cubicBezTo>
                  <a:cubicBezTo>
                    <a:pt x="82" y="85"/>
                    <a:pt x="82" y="85"/>
                    <a:pt x="69" y="85"/>
                  </a:cubicBezTo>
                  <a:cubicBezTo>
                    <a:pt x="59" y="85"/>
                    <a:pt x="49" y="86"/>
                    <a:pt x="39" y="85"/>
                  </a:cubicBezTo>
                  <a:cubicBezTo>
                    <a:pt x="33" y="85"/>
                    <a:pt x="31" y="87"/>
                    <a:pt x="31" y="93"/>
                  </a:cubicBezTo>
                  <a:cubicBezTo>
                    <a:pt x="31" y="101"/>
                    <a:pt x="31" y="110"/>
                    <a:pt x="31" y="118"/>
                  </a:cubicBezTo>
                  <a:cubicBezTo>
                    <a:pt x="31" y="124"/>
                    <a:pt x="33" y="126"/>
                    <a:pt x="39" y="126"/>
                  </a:cubicBezTo>
                  <a:cubicBezTo>
                    <a:pt x="52" y="125"/>
                    <a:pt x="65" y="126"/>
                    <a:pt x="78" y="125"/>
                  </a:cubicBezTo>
                  <a:cubicBezTo>
                    <a:pt x="84" y="125"/>
                    <a:pt x="86" y="127"/>
                    <a:pt x="86" y="133"/>
                  </a:cubicBezTo>
                  <a:cubicBezTo>
                    <a:pt x="86" y="134"/>
                    <a:pt x="86" y="134"/>
                    <a:pt x="86" y="135"/>
                  </a:cubicBezTo>
                  <a:cubicBezTo>
                    <a:pt x="86" y="153"/>
                    <a:pt x="87" y="151"/>
                    <a:pt x="71" y="151"/>
                  </a:cubicBezTo>
                  <a:cubicBezTo>
                    <a:pt x="51" y="151"/>
                    <a:pt x="31" y="150"/>
                    <a:pt x="11" y="151"/>
                  </a:cubicBezTo>
                  <a:cubicBezTo>
                    <a:pt x="2" y="151"/>
                    <a:pt x="0" y="148"/>
                    <a:pt x="1" y="140"/>
                  </a:cubicBezTo>
                  <a:cubicBezTo>
                    <a:pt x="1" y="119"/>
                    <a:pt x="1" y="97"/>
                    <a:pt x="1" y="7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 name="Freeform 15"/>
            <p:cNvSpPr>
              <a:spLocks/>
            </p:cNvSpPr>
            <p:nvPr userDrawn="1"/>
          </p:nvSpPr>
          <p:spPr bwMode="auto">
            <a:xfrm>
              <a:off x="9686925" y="2863850"/>
              <a:ext cx="327025" cy="581025"/>
            </a:xfrm>
            <a:custGeom>
              <a:avLst/>
              <a:gdLst>
                <a:gd name="T0" fmla="*/ 0 w 87"/>
                <a:gd name="T1" fmla="*/ 76 h 154"/>
                <a:gd name="T2" fmla="*/ 0 w 87"/>
                <a:gd name="T3" fmla="*/ 11 h 154"/>
                <a:gd name="T4" fmla="*/ 10 w 87"/>
                <a:gd name="T5" fmla="*/ 0 h 154"/>
                <a:gd name="T6" fmla="*/ 75 w 87"/>
                <a:gd name="T7" fmla="*/ 0 h 154"/>
                <a:gd name="T8" fmla="*/ 85 w 87"/>
                <a:gd name="T9" fmla="*/ 10 h 154"/>
                <a:gd name="T10" fmla="*/ 85 w 87"/>
                <a:gd name="T11" fmla="*/ 11 h 154"/>
                <a:gd name="T12" fmla="*/ 71 w 87"/>
                <a:gd name="T13" fmla="*/ 26 h 154"/>
                <a:gd name="T14" fmla="*/ 38 w 87"/>
                <a:gd name="T15" fmla="*/ 26 h 154"/>
                <a:gd name="T16" fmla="*/ 30 w 87"/>
                <a:gd name="T17" fmla="*/ 33 h 154"/>
                <a:gd name="T18" fmla="*/ 54 w 87"/>
                <a:gd name="T19" fmla="*/ 60 h 154"/>
                <a:gd name="T20" fmla="*/ 74 w 87"/>
                <a:gd name="T21" fmla="*/ 60 h 154"/>
                <a:gd name="T22" fmla="*/ 81 w 87"/>
                <a:gd name="T23" fmla="*/ 67 h 154"/>
                <a:gd name="T24" fmla="*/ 64 w 87"/>
                <a:gd name="T25" fmla="*/ 85 h 154"/>
                <a:gd name="T26" fmla="*/ 38 w 87"/>
                <a:gd name="T27" fmla="*/ 85 h 154"/>
                <a:gd name="T28" fmla="*/ 30 w 87"/>
                <a:gd name="T29" fmla="*/ 94 h 154"/>
                <a:gd name="T30" fmla="*/ 30 w 87"/>
                <a:gd name="T31" fmla="*/ 118 h 154"/>
                <a:gd name="T32" fmla="*/ 38 w 87"/>
                <a:gd name="T33" fmla="*/ 126 h 154"/>
                <a:gd name="T34" fmla="*/ 77 w 87"/>
                <a:gd name="T35" fmla="*/ 125 h 154"/>
                <a:gd name="T36" fmla="*/ 85 w 87"/>
                <a:gd name="T37" fmla="*/ 133 h 154"/>
                <a:gd name="T38" fmla="*/ 85 w 87"/>
                <a:gd name="T39" fmla="*/ 134 h 154"/>
                <a:gd name="T40" fmla="*/ 69 w 87"/>
                <a:gd name="T41" fmla="*/ 151 h 154"/>
                <a:gd name="T42" fmla="*/ 8 w 87"/>
                <a:gd name="T43" fmla="*/ 151 h 154"/>
                <a:gd name="T44" fmla="*/ 0 w 87"/>
                <a:gd name="T45" fmla="*/ 142 h 154"/>
                <a:gd name="T46" fmla="*/ 0 w 87"/>
                <a:gd name="T4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154">
                  <a:moveTo>
                    <a:pt x="0" y="76"/>
                  </a:moveTo>
                  <a:cubicBezTo>
                    <a:pt x="0" y="54"/>
                    <a:pt x="0" y="32"/>
                    <a:pt x="0" y="11"/>
                  </a:cubicBezTo>
                  <a:cubicBezTo>
                    <a:pt x="0" y="2"/>
                    <a:pt x="2" y="0"/>
                    <a:pt x="10" y="0"/>
                  </a:cubicBezTo>
                  <a:cubicBezTo>
                    <a:pt x="32" y="1"/>
                    <a:pt x="54" y="1"/>
                    <a:pt x="75" y="0"/>
                  </a:cubicBezTo>
                  <a:cubicBezTo>
                    <a:pt x="83" y="0"/>
                    <a:pt x="86" y="3"/>
                    <a:pt x="85" y="10"/>
                  </a:cubicBezTo>
                  <a:cubicBezTo>
                    <a:pt x="85" y="11"/>
                    <a:pt x="85" y="11"/>
                    <a:pt x="85" y="11"/>
                  </a:cubicBezTo>
                  <a:cubicBezTo>
                    <a:pt x="85" y="26"/>
                    <a:pt x="85" y="26"/>
                    <a:pt x="71" y="26"/>
                  </a:cubicBezTo>
                  <a:cubicBezTo>
                    <a:pt x="60" y="26"/>
                    <a:pt x="49" y="26"/>
                    <a:pt x="38" y="26"/>
                  </a:cubicBezTo>
                  <a:cubicBezTo>
                    <a:pt x="32" y="26"/>
                    <a:pt x="30" y="28"/>
                    <a:pt x="30" y="33"/>
                  </a:cubicBezTo>
                  <a:cubicBezTo>
                    <a:pt x="28" y="60"/>
                    <a:pt x="27" y="60"/>
                    <a:pt x="54" y="60"/>
                  </a:cubicBezTo>
                  <a:cubicBezTo>
                    <a:pt x="61" y="60"/>
                    <a:pt x="68" y="60"/>
                    <a:pt x="74" y="60"/>
                  </a:cubicBezTo>
                  <a:cubicBezTo>
                    <a:pt x="79" y="60"/>
                    <a:pt x="81" y="62"/>
                    <a:pt x="81" y="67"/>
                  </a:cubicBezTo>
                  <a:cubicBezTo>
                    <a:pt x="82" y="85"/>
                    <a:pt x="82" y="85"/>
                    <a:pt x="64" y="85"/>
                  </a:cubicBezTo>
                  <a:cubicBezTo>
                    <a:pt x="55" y="85"/>
                    <a:pt x="47" y="86"/>
                    <a:pt x="38" y="85"/>
                  </a:cubicBezTo>
                  <a:cubicBezTo>
                    <a:pt x="32" y="85"/>
                    <a:pt x="30" y="88"/>
                    <a:pt x="30" y="94"/>
                  </a:cubicBezTo>
                  <a:cubicBezTo>
                    <a:pt x="30" y="102"/>
                    <a:pt x="30" y="110"/>
                    <a:pt x="30" y="118"/>
                  </a:cubicBezTo>
                  <a:cubicBezTo>
                    <a:pt x="30" y="123"/>
                    <a:pt x="32" y="126"/>
                    <a:pt x="38" y="126"/>
                  </a:cubicBezTo>
                  <a:cubicBezTo>
                    <a:pt x="51" y="125"/>
                    <a:pt x="64" y="126"/>
                    <a:pt x="77" y="125"/>
                  </a:cubicBezTo>
                  <a:cubicBezTo>
                    <a:pt x="83" y="125"/>
                    <a:pt x="86" y="127"/>
                    <a:pt x="85" y="133"/>
                  </a:cubicBezTo>
                  <a:cubicBezTo>
                    <a:pt x="85" y="133"/>
                    <a:pt x="85" y="134"/>
                    <a:pt x="85" y="134"/>
                  </a:cubicBezTo>
                  <a:cubicBezTo>
                    <a:pt x="85" y="154"/>
                    <a:pt x="87" y="151"/>
                    <a:pt x="69" y="151"/>
                  </a:cubicBezTo>
                  <a:cubicBezTo>
                    <a:pt x="49" y="151"/>
                    <a:pt x="29" y="150"/>
                    <a:pt x="8" y="151"/>
                  </a:cubicBezTo>
                  <a:cubicBezTo>
                    <a:pt x="2" y="151"/>
                    <a:pt x="0" y="149"/>
                    <a:pt x="0" y="142"/>
                  </a:cubicBezTo>
                  <a:cubicBezTo>
                    <a:pt x="0" y="120"/>
                    <a:pt x="0" y="98"/>
                    <a:pt x="0" y="7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 name="Freeform 16"/>
            <p:cNvSpPr>
              <a:spLocks/>
            </p:cNvSpPr>
            <p:nvPr userDrawn="1"/>
          </p:nvSpPr>
          <p:spPr bwMode="auto">
            <a:xfrm>
              <a:off x="9563100" y="895350"/>
              <a:ext cx="1901825" cy="68263"/>
            </a:xfrm>
            <a:custGeom>
              <a:avLst/>
              <a:gdLst>
                <a:gd name="T0" fmla="*/ 0 w 506"/>
                <a:gd name="T1" fmla="*/ 18 h 18"/>
                <a:gd name="T2" fmla="*/ 35 w 506"/>
                <a:gd name="T3" fmla="*/ 0 h 18"/>
                <a:gd name="T4" fmla="*/ 493 w 506"/>
                <a:gd name="T5" fmla="*/ 1 h 18"/>
                <a:gd name="T6" fmla="*/ 506 w 506"/>
                <a:gd name="T7" fmla="*/ 1 h 18"/>
                <a:gd name="T8" fmla="*/ 506 w 506"/>
                <a:gd name="T9" fmla="*/ 18 h 18"/>
                <a:gd name="T10" fmla="*/ 0 w 506"/>
                <a:gd name="T11" fmla="*/ 18 h 18"/>
              </a:gdLst>
              <a:ahLst/>
              <a:cxnLst>
                <a:cxn ang="0">
                  <a:pos x="T0" y="T1"/>
                </a:cxn>
                <a:cxn ang="0">
                  <a:pos x="T2" y="T3"/>
                </a:cxn>
                <a:cxn ang="0">
                  <a:pos x="T4" y="T5"/>
                </a:cxn>
                <a:cxn ang="0">
                  <a:pos x="T6" y="T7"/>
                </a:cxn>
                <a:cxn ang="0">
                  <a:pos x="T8" y="T9"/>
                </a:cxn>
                <a:cxn ang="0">
                  <a:pos x="T10" y="T11"/>
                </a:cxn>
              </a:cxnLst>
              <a:rect l="0" t="0" r="r" b="b"/>
              <a:pathLst>
                <a:path w="506" h="18">
                  <a:moveTo>
                    <a:pt x="0" y="18"/>
                  </a:moveTo>
                  <a:cubicBezTo>
                    <a:pt x="10" y="8"/>
                    <a:pt x="19" y="0"/>
                    <a:pt x="35" y="0"/>
                  </a:cubicBezTo>
                  <a:cubicBezTo>
                    <a:pt x="188" y="1"/>
                    <a:pt x="340" y="1"/>
                    <a:pt x="493" y="1"/>
                  </a:cubicBezTo>
                  <a:cubicBezTo>
                    <a:pt x="497" y="1"/>
                    <a:pt x="501" y="1"/>
                    <a:pt x="506" y="1"/>
                  </a:cubicBezTo>
                  <a:cubicBezTo>
                    <a:pt x="506" y="6"/>
                    <a:pt x="506" y="12"/>
                    <a:pt x="506" y="18"/>
                  </a:cubicBezTo>
                  <a:cubicBezTo>
                    <a:pt x="338" y="18"/>
                    <a:pt x="169" y="18"/>
                    <a:pt x="0" y="18"/>
                  </a:cubicBezTo>
                  <a:close/>
                </a:path>
              </a:pathLst>
            </a:custGeom>
            <a:solidFill>
              <a:srgbClr val="A50C0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 name="Freeform 17"/>
            <p:cNvSpPr>
              <a:spLocks/>
            </p:cNvSpPr>
            <p:nvPr userDrawn="1"/>
          </p:nvSpPr>
          <p:spPr bwMode="auto">
            <a:xfrm>
              <a:off x="11099800" y="2846388"/>
              <a:ext cx="387350" cy="601663"/>
            </a:xfrm>
            <a:custGeom>
              <a:avLst/>
              <a:gdLst>
                <a:gd name="T0" fmla="*/ 89 w 103"/>
                <a:gd name="T1" fmla="*/ 35 h 160"/>
                <a:gd name="T2" fmla="*/ 52 w 103"/>
                <a:gd name="T3" fmla="*/ 29 h 160"/>
                <a:gd name="T4" fmla="*/ 34 w 103"/>
                <a:gd name="T5" fmla="*/ 41 h 160"/>
                <a:gd name="T6" fmla="*/ 43 w 103"/>
                <a:gd name="T7" fmla="*/ 60 h 160"/>
                <a:gd name="T8" fmla="*/ 80 w 103"/>
                <a:gd name="T9" fmla="*/ 80 h 160"/>
                <a:gd name="T10" fmla="*/ 97 w 103"/>
                <a:gd name="T11" fmla="*/ 129 h 160"/>
                <a:gd name="T12" fmla="*/ 65 w 103"/>
                <a:gd name="T13" fmla="*/ 155 h 160"/>
                <a:gd name="T14" fmla="*/ 11 w 103"/>
                <a:gd name="T15" fmla="*/ 152 h 160"/>
                <a:gd name="T16" fmla="*/ 2 w 103"/>
                <a:gd name="T17" fmla="*/ 139 h 160"/>
                <a:gd name="T18" fmla="*/ 2 w 103"/>
                <a:gd name="T19" fmla="*/ 122 h 160"/>
                <a:gd name="T20" fmla="*/ 34 w 103"/>
                <a:gd name="T21" fmla="*/ 131 h 160"/>
                <a:gd name="T22" fmla="*/ 58 w 103"/>
                <a:gd name="T23" fmla="*/ 130 h 160"/>
                <a:gd name="T24" fmla="*/ 63 w 103"/>
                <a:gd name="T25" fmla="*/ 104 h 160"/>
                <a:gd name="T26" fmla="*/ 38 w 103"/>
                <a:gd name="T27" fmla="*/ 90 h 160"/>
                <a:gd name="T28" fmla="*/ 6 w 103"/>
                <a:gd name="T29" fmla="*/ 57 h 160"/>
                <a:gd name="T30" fmla="*/ 33 w 103"/>
                <a:gd name="T31" fmla="*/ 7 h 160"/>
                <a:gd name="T32" fmla="*/ 92 w 103"/>
                <a:gd name="T33" fmla="*/ 12 h 160"/>
                <a:gd name="T34" fmla="*/ 96 w 103"/>
                <a:gd name="T35" fmla="*/ 18 h 160"/>
                <a:gd name="T36" fmla="*/ 89 w 103"/>
                <a:gd name="T37" fmla="*/ 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60">
                  <a:moveTo>
                    <a:pt x="89" y="35"/>
                  </a:moveTo>
                  <a:cubicBezTo>
                    <a:pt x="76" y="33"/>
                    <a:pt x="64" y="31"/>
                    <a:pt x="52" y="29"/>
                  </a:cubicBezTo>
                  <a:cubicBezTo>
                    <a:pt x="44" y="28"/>
                    <a:pt x="37" y="32"/>
                    <a:pt x="34" y="41"/>
                  </a:cubicBezTo>
                  <a:cubicBezTo>
                    <a:pt x="31" y="50"/>
                    <a:pt x="36" y="56"/>
                    <a:pt x="43" y="60"/>
                  </a:cubicBezTo>
                  <a:cubicBezTo>
                    <a:pt x="55" y="67"/>
                    <a:pt x="68" y="72"/>
                    <a:pt x="80" y="80"/>
                  </a:cubicBezTo>
                  <a:cubicBezTo>
                    <a:pt x="97" y="91"/>
                    <a:pt x="103" y="109"/>
                    <a:pt x="97" y="129"/>
                  </a:cubicBezTo>
                  <a:cubicBezTo>
                    <a:pt x="91" y="144"/>
                    <a:pt x="80" y="151"/>
                    <a:pt x="65" y="155"/>
                  </a:cubicBezTo>
                  <a:cubicBezTo>
                    <a:pt x="47" y="160"/>
                    <a:pt x="29" y="158"/>
                    <a:pt x="11" y="152"/>
                  </a:cubicBezTo>
                  <a:cubicBezTo>
                    <a:pt x="4" y="150"/>
                    <a:pt x="1" y="147"/>
                    <a:pt x="2" y="139"/>
                  </a:cubicBezTo>
                  <a:cubicBezTo>
                    <a:pt x="3" y="134"/>
                    <a:pt x="2" y="128"/>
                    <a:pt x="2" y="122"/>
                  </a:cubicBezTo>
                  <a:cubicBezTo>
                    <a:pt x="14" y="125"/>
                    <a:pt x="24" y="129"/>
                    <a:pt x="34" y="131"/>
                  </a:cubicBezTo>
                  <a:cubicBezTo>
                    <a:pt x="42" y="132"/>
                    <a:pt x="50" y="132"/>
                    <a:pt x="58" y="130"/>
                  </a:cubicBezTo>
                  <a:cubicBezTo>
                    <a:pt x="71" y="127"/>
                    <a:pt x="74" y="112"/>
                    <a:pt x="63" y="104"/>
                  </a:cubicBezTo>
                  <a:cubicBezTo>
                    <a:pt x="56" y="98"/>
                    <a:pt x="47" y="94"/>
                    <a:pt x="38" y="90"/>
                  </a:cubicBezTo>
                  <a:cubicBezTo>
                    <a:pt x="24" y="82"/>
                    <a:pt x="10" y="74"/>
                    <a:pt x="6" y="57"/>
                  </a:cubicBezTo>
                  <a:cubicBezTo>
                    <a:pt x="0" y="34"/>
                    <a:pt x="11" y="14"/>
                    <a:pt x="33" y="7"/>
                  </a:cubicBezTo>
                  <a:cubicBezTo>
                    <a:pt x="53" y="0"/>
                    <a:pt x="73" y="4"/>
                    <a:pt x="92" y="12"/>
                  </a:cubicBezTo>
                  <a:cubicBezTo>
                    <a:pt x="94" y="13"/>
                    <a:pt x="96" y="17"/>
                    <a:pt x="96" y="18"/>
                  </a:cubicBezTo>
                  <a:cubicBezTo>
                    <a:pt x="94" y="25"/>
                    <a:pt x="91" y="31"/>
                    <a:pt x="89" y="3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1382575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EDEDED"/>
        </a:solidFill>
        <a:effectLst/>
      </p:bgPr>
    </p:bg>
    <p:spTree>
      <p:nvGrpSpPr>
        <p:cNvPr id="1" name=""/>
        <p:cNvGrpSpPr/>
        <p:nvPr/>
      </p:nvGrpSpPr>
      <p:grpSpPr>
        <a:xfrm>
          <a:off x="0" y="0"/>
          <a:ext cx="0" cy="0"/>
          <a:chOff x="0" y="0"/>
          <a:chExt cx="0" cy="0"/>
        </a:xfrm>
      </p:grpSpPr>
      <p:sp>
        <p:nvSpPr>
          <p:cNvPr id="5" name="Freeform 16"/>
          <p:cNvSpPr/>
          <p:nvPr userDrawn="1"/>
        </p:nvSpPr>
        <p:spPr bwMode="auto">
          <a:xfrm flipH="1">
            <a:off x="9513871" y="-15323"/>
            <a:ext cx="2678128" cy="6873324"/>
          </a:xfrm>
          <a:custGeom>
            <a:avLst/>
            <a:gdLst>
              <a:gd name="connsiteX0" fmla="*/ 0 w 289082"/>
              <a:gd name="connsiteY0" fmla="*/ 0 h 825950"/>
              <a:gd name="connsiteX1" fmla="*/ 0 w 289082"/>
              <a:gd name="connsiteY1" fmla="*/ 825950 h 825950"/>
              <a:gd name="connsiteX2" fmla="*/ 289082 w 289082"/>
              <a:gd name="connsiteY2" fmla="*/ 825950 h 825950"/>
              <a:gd name="connsiteX3" fmla="*/ 0 w 289082"/>
              <a:gd name="connsiteY3" fmla="*/ 0 h 825950"/>
            </a:gdLst>
            <a:ahLst/>
            <a:cxnLst>
              <a:cxn ang="0">
                <a:pos x="connsiteX0" y="connsiteY0"/>
              </a:cxn>
              <a:cxn ang="0">
                <a:pos x="connsiteX1" y="connsiteY1"/>
              </a:cxn>
              <a:cxn ang="0">
                <a:pos x="connsiteX2" y="connsiteY2"/>
              </a:cxn>
              <a:cxn ang="0">
                <a:pos x="connsiteX3" y="connsiteY3"/>
              </a:cxn>
            </a:cxnLst>
            <a:rect l="l" t="t" r="r" b="b"/>
            <a:pathLst>
              <a:path w="289082" h="825950">
                <a:moveTo>
                  <a:pt x="0" y="0"/>
                </a:moveTo>
                <a:lnTo>
                  <a:pt x="0" y="825950"/>
                </a:lnTo>
                <a:lnTo>
                  <a:pt x="289082" y="825950"/>
                </a:lnTo>
                <a:lnTo>
                  <a:pt x="0" y="0"/>
                </a:lnTo>
                <a:close/>
              </a:path>
            </a:pathLst>
          </a:custGeom>
          <a:solidFill>
            <a:schemeClr val="accent1">
              <a:lumMod val="9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7" name="Title 6"/>
          <p:cNvSpPr>
            <a:spLocks noGrp="1"/>
          </p:cNvSpPr>
          <p:nvPr userDrawn="1">
            <p:ph type="title"/>
          </p:nvPr>
        </p:nvSpPr>
        <p:spPr/>
        <p:txBody>
          <a:bodyPr/>
          <a:lstStyle/>
          <a:p>
            <a:r>
              <a:rPr lang="en-US"/>
              <a:t>Click to edit Master title style</a:t>
            </a:r>
            <a:endParaRPr lang="en-GB"/>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6" name="Rectangle 5"/>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Tree>
    <p:extLst>
      <p:ext uri="{BB962C8B-B14F-4D97-AF65-F5344CB8AC3E}">
        <p14:creationId xmlns:p14="http://schemas.microsoft.com/office/powerpoint/2010/main" val="2781035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1 + Content">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sz="1400" b="0"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3" name="Content Placeholder 2"/>
          <p:cNvSpPr>
            <a:spLocks noGrp="1"/>
          </p:cNvSpPr>
          <p:nvPr>
            <p:ph idx="1"/>
          </p:nvPr>
        </p:nvSpPr>
        <p:spPr/>
        <p:txBody>
          <a:bodyPr/>
          <a:lstStyle>
            <a:lvl1pPr>
              <a:buSzPct val="110000"/>
              <a:defRPr sz="1400">
                <a:latin typeface="Verdana" panose="020B0604030504040204" pitchFamily="34" charset="0"/>
                <a:ea typeface="Verdana" panose="020B0604030504040204" pitchFamily="34" charset="0"/>
                <a:cs typeface="Verdana" panose="020B0604030504040204" pitchFamily="34" charset="0"/>
              </a:defRPr>
            </a:lvl1pPr>
            <a:lvl2pPr marL="685783" indent="-228594">
              <a:buFont typeface="Courier New" panose="02070309020205020404" pitchFamily="49" charset="0"/>
              <a:buChar char="-"/>
              <a:defRPr sz="14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400">
                <a:latin typeface="Verdana" panose="020B0604030504040204" pitchFamily="34" charset="0"/>
                <a:ea typeface="Verdana" panose="020B0604030504040204" pitchFamily="34" charset="0"/>
                <a:cs typeface="Verdana" panose="020B0604030504040204" pitchFamily="34" charset="0"/>
              </a:defRPr>
            </a:lvl4pPr>
            <a:lvl5pPr>
              <a:defRPr sz="1400">
                <a:latin typeface="Verdana" panose="020B0604030504040204" pitchFamily="34" charset="0"/>
                <a:ea typeface="Verdana" panose="020B0604030504040204" pitchFamily="34" charset="0"/>
                <a:cs typeface="Verdana" panose="020B060403050404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430717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1+T2 + Content">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3" name="Content Placeholder 2"/>
          <p:cNvSpPr>
            <a:spLocks noGrp="1"/>
          </p:cNvSpPr>
          <p:nvPr>
            <p:ph idx="1"/>
          </p:nvPr>
        </p:nvSpPr>
        <p:spPr/>
        <p:txBody>
          <a:bodyPr/>
          <a:lstStyle>
            <a:lvl1pPr>
              <a:buSzPct val="110000"/>
              <a:defRPr sz="1400">
                <a:latin typeface="Verdana" panose="020B0604030504040204" pitchFamily="34" charset="0"/>
                <a:ea typeface="Verdana" panose="020B0604030504040204" pitchFamily="34" charset="0"/>
                <a:cs typeface="Verdana" panose="020B0604030504040204" pitchFamily="34" charset="0"/>
              </a:defRPr>
            </a:lvl1pPr>
            <a:lvl2pPr marL="685783" indent="-228594">
              <a:buFont typeface="Courier New" panose="02070309020205020404" pitchFamily="49" charset="0"/>
              <a:buChar char="-"/>
              <a:defRPr sz="14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400">
                <a:latin typeface="Verdana" panose="020B0604030504040204" pitchFamily="34" charset="0"/>
                <a:ea typeface="Verdana" panose="020B0604030504040204" pitchFamily="34" charset="0"/>
                <a:cs typeface="Verdana" panose="020B0604030504040204" pitchFamily="34" charset="0"/>
              </a:defRPr>
            </a:lvl4pPr>
            <a:lvl5pPr>
              <a:defRPr sz="1400">
                <a:latin typeface="Verdana" panose="020B0604030504040204" pitchFamily="34" charset="0"/>
                <a:ea typeface="Verdana" panose="020B0604030504040204" pitchFamily="34" charset="0"/>
                <a:cs typeface="Verdana" panose="020B060403050404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Tree>
    <p:extLst>
      <p:ext uri="{BB962C8B-B14F-4D97-AF65-F5344CB8AC3E}">
        <p14:creationId xmlns:p14="http://schemas.microsoft.com/office/powerpoint/2010/main" val="34064394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1+T2 + Content 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7E93D8-F346-438C-902D-5921FF829DB6}"/>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07"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087E93D8-F346-438C-902D-5921FF829DB6}"/>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
        <p:nvSpPr>
          <p:cNvPr id="4" name="Rectangle 3"/>
          <p:cNvSpPr/>
          <p:nvPr userDrawn="1"/>
        </p:nvSpPr>
        <p:spPr bwMode="auto">
          <a:xfrm>
            <a:off x="0" y="973394"/>
            <a:ext cx="2941504" cy="5884607"/>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pic>
        <p:nvPicPr>
          <p:cNvPr id="9" name="Picture 8"/>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168443" y="1163695"/>
            <a:ext cx="2677500" cy="4749800"/>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Tree>
    <p:extLst>
      <p:ext uri="{BB962C8B-B14F-4D97-AF65-F5344CB8AC3E}">
        <p14:creationId xmlns:p14="http://schemas.microsoft.com/office/powerpoint/2010/main" val="3065561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1+T2 + Content side">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
        <p:nvSpPr>
          <p:cNvPr id="4" name="Rectangle 3"/>
          <p:cNvSpPr/>
          <p:nvPr userDrawn="1"/>
        </p:nvSpPr>
        <p:spPr bwMode="auto">
          <a:xfrm>
            <a:off x="9250496" y="983009"/>
            <a:ext cx="2941504" cy="5884607"/>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pic>
        <p:nvPicPr>
          <p:cNvPr id="9" name="Picture 8"/>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9382499" y="1241464"/>
            <a:ext cx="2677500" cy="4749800"/>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Tree>
    <p:extLst>
      <p:ext uri="{BB962C8B-B14F-4D97-AF65-F5344CB8AC3E}">
        <p14:creationId xmlns:p14="http://schemas.microsoft.com/office/powerpoint/2010/main" val="2364381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1+T2 + Content side">
    <p:spTree>
      <p:nvGrpSpPr>
        <p:cNvPr id="1" name=""/>
        <p:cNvGrpSpPr/>
        <p:nvPr/>
      </p:nvGrpSpPr>
      <p:grpSpPr>
        <a:xfrm>
          <a:off x="0" y="0"/>
          <a:ext cx="0" cy="0"/>
          <a:chOff x="0" y="0"/>
          <a:chExt cx="0" cy="0"/>
        </a:xfrm>
      </p:grpSpPr>
      <p:sp>
        <p:nvSpPr>
          <p:cNvPr id="4" name="Rectangle 3"/>
          <p:cNvSpPr/>
          <p:nvPr userDrawn="1"/>
        </p:nvSpPr>
        <p:spPr bwMode="auto">
          <a:xfrm>
            <a:off x="0" y="5359400"/>
            <a:ext cx="12192000" cy="1498600"/>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pic>
        <p:nvPicPr>
          <p:cNvPr id="9" name="Picture 8"/>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1717843" y="5484047"/>
            <a:ext cx="9578808" cy="1249307"/>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
        <p:nvSpPr>
          <p:cNvPr id="7" name="Rectangle 6"/>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Tree>
    <p:extLst>
      <p:ext uri="{BB962C8B-B14F-4D97-AF65-F5344CB8AC3E}">
        <p14:creationId xmlns:p14="http://schemas.microsoft.com/office/powerpoint/2010/main" val="129100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9/3/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
        <p:nvSpPr>
          <p:cNvPr id="7" name="Title Placeholder 1">
            <a:extLst>
              <a:ext uri="{FF2B5EF4-FFF2-40B4-BE49-F238E27FC236}">
                <a16:creationId xmlns:a16="http://schemas.microsoft.com/office/drawing/2014/main" id="{10AF573F-B6A7-4E43-9743-E23E2FDD28C9}"/>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82299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1+T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E2A670-80D6-4B5F-B40F-0019B51E5A2C}"/>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3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90E2A670-80D6-4B5F-B40F-0019B51E5A2C}"/>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Tree>
    <p:extLst>
      <p:ext uri="{BB962C8B-B14F-4D97-AF65-F5344CB8AC3E}">
        <p14:creationId xmlns:p14="http://schemas.microsoft.com/office/powerpoint/2010/main" val="1383903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1 Only">
    <p:bg>
      <p:bgRef idx="1001">
        <a:schemeClr val="bg1"/>
      </p:bgRef>
    </p:bg>
    <p:spTree>
      <p:nvGrpSpPr>
        <p:cNvPr id="1" name=""/>
        <p:cNvGrpSpPr/>
        <p:nvPr/>
      </p:nvGrpSpPr>
      <p:grpSpPr>
        <a:xfrm>
          <a:off x="0" y="0"/>
          <a:ext cx="0" cy="0"/>
          <a:chOff x="0" y="0"/>
          <a:chExt cx="0" cy="0"/>
        </a:xfrm>
      </p:grpSpPr>
      <p:sp>
        <p:nvSpPr>
          <p:cNvPr id="3" name="Title 1"/>
          <p:cNvSpPr>
            <a:spLocks noGrp="1"/>
          </p:cNvSpPr>
          <p:nvPr>
            <p:ph type="title"/>
          </p:nvPr>
        </p:nvSpPr>
        <p:spPr>
          <a:xfrm>
            <a:off x="375140" y="186166"/>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Tree>
    <p:extLst>
      <p:ext uri="{BB962C8B-B14F-4D97-AF65-F5344CB8AC3E}">
        <p14:creationId xmlns:p14="http://schemas.microsoft.com/office/powerpoint/2010/main" val="78214887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1 + Content s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973394"/>
            <a:ext cx="2941504" cy="588460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3" name="Title 1"/>
          <p:cNvSpPr>
            <a:spLocks noGrp="1"/>
          </p:cNvSpPr>
          <p:nvPr>
            <p:ph type="title"/>
          </p:nvPr>
        </p:nvSpPr>
        <p:spPr>
          <a:xfrm>
            <a:off x="374651"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9" name="Text Placeholder 6"/>
          <p:cNvSpPr>
            <a:spLocks noGrp="1"/>
          </p:cNvSpPr>
          <p:nvPr>
            <p:ph type="body" sz="quarter" idx="11" hasCustomPrompt="1"/>
          </p:nvPr>
        </p:nvSpPr>
        <p:spPr>
          <a:xfrm>
            <a:off x="374650" y="1163695"/>
            <a:ext cx="2471292" cy="4749800"/>
          </a:xfrm>
        </p:spPr>
        <p:txBody>
          <a:bodyPr/>
          <a:lstStyle>
            <a:lvl1pPr>
              <a:defRPr sz="1400">
                <a:solidFill>
                  <a:schemeClr val="accent4"/>
                </a:solidFill>
              </a:defRPr>
            </a:lvl1pPr>
            <a:lvl2pPr>
              <a:defRPr sz="14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143156888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1 + Content s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973394"/>
            <a:ext cx="5029200" cy="588460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3" name="Title 1"/>
          <p:cNvSpPr>
            <a:spLocks noGrp="1"/>
          </p:cNvSpPr>
          <p:nvPr>
            <p:ph type="title"/>
          </p:nvPr>
        </p:nvSpPr>
        <p:spPr>
          <a:xfrm>
            <a:off x="374651"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9" name="Text Placeholder 6"/>
          <p:cNvSpPr>
            <a:spLocks noGrp="1"/>
          </p:cNvSpPr>
          <p:nvPr>
            <p:ph type="body" sz="quarter" idx="11" hasCustomPrompt="1"/>
          </p:nvPr>
        </p:nvSpPr>
        <p:spPr>
          <a:xfrm>
            <a:off x="374650" y="1163695"/>
            <a:ext cx="2471292" cy="4749800"/>
          </a:xfrm>
        </p:spPr>
        <p:txBody>
          <a:bodyPr/>
          <a:lstStyle>
            <a:lvl1pPr>
              <a:defRPr sz="1400">
                <a:solidFill>
                  <a:schemeClr val="accent4"/>
                </a:solidFill>
              </a:defRPr>
            </a:lvl1pPr>
            <a:lvl2pPr>
              <a:defRPr sz="14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37658325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extBox 1"/>
          <p:cNvSpPr txBox="1"/>
          <p:nvPr userDrawn="1"/>
        </p:nvSpPr>
        <p:spPr>
          <a:xfrm>
            <a:off x="371476" y="6447487"/>
            <a:ext cx="11449051" cy="318924"/>
          </a:xfrm>
          <a:prstGeom prst="rect">
            <a:avLst/>
          </a:prstGeom>
          <a:noFill/>
          <a:ln>
            <a:noFill/>
          </a:ln>
        </p:spPr>
        <p:txBody>
          <a:bodyPr wrap="square" lIns="36000" tIns="36000" rIns="36000" bIns="36000" rtlCol="0" anchor="ctr" anchorCtr="0">
            <a:spAutoFit/>
          </a:bodyPr>
          <a:lstStyle/>
          <a:p>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internal use only.. This material must not be copied, reproduced, published, distributed, passed on or disclosed (in whole or in part) to any other person or used for any other purpose at any time without the prior written consent of Altán. </a:t>
            </a:r>
          </a:p>
        </p:txBody>
      </p:sp>
      <p:pic>
        <p:nvPicPr>
          <p:cNvPr id="6" name="Picture 5"/>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552982" y="2752727"/>
            <a:ext cx="3086039" cy="1352548"/>
          </a:xfrm>
          <a:prstGeom prst="rect">
            <a:avLst/>
          </a:prstGeom>
        </p:spPr>
      </p:pic>
    </p:spTree>
    <p:extLst>
      <p:ext uri="{BB962C8B-B14F-4D97-AF65-F5344CB8AC3E}">
        <p14:creationId xmlns:p14="http://schemas.microsoft.com/office/powerpoint/2010/main" val="262397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Interior Bas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2347" name="Diapositiva de think-cell" r:id="rId4" imgW="336" imgH="336" progId="TCLayout.ActiveDocument.1">
                  <p:embed/>
                </p:oleObj>
              </mc:Choice>
              <mc:Fallback>
                <p:oleObj name="Diapositiva de think-cell" r:id="rId4" imgW="336" imgH="336" progId="TCLayout.ActiveDocument.1">
                  <p:embed/>
                  <p:pic>
                    <p:nvPicPr>
                      <p:cNvPr id="2" name="Objeto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155577" y="-6302"/>
            <a:ext cx="11880851" cy="836023"/>
          </a:xfrm>
          <a:prstGeom prst="rect">
            <a:avLst/>
          </a:prstGeom>
          <a:ln>
            <a:noFill/>
          </a:ln>
        </p:spPr>
        <p:txBody>
          <a:bodyPr anchor="ctr"/>
          <a:lstStyle>
            <a:lvl1pPr algn="l">
              <a:defRPr sz="2531" b="1" i="0" baseline="0">
                <a:solidFill>
                  <a:schemeClr val="tx1"/>
                </a:solidFill>
                <a:latin typeface="+mj-lt"/>
                <a:ea typeface="Arial" charset="0"/>
                <a:cs typeface="Arial" charset="0"/>
              </a:defRPr>
            </a:lvl1pPr>
          </a:lstStyle>
          <a:p>
            <a:r>
              <a:rPr lang="en-GB" altLang="es-ES" dirty="0"/>
              <a:t>Click to edit master title style</a:t>
            </a:r>
          </a:p>
        </p:txBody>
      </p:sp>
      <p:sp>
        <p:nvSpPr>
          <p:cNvPr id="6"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cxnSp>
        <p:nvCxnSpPr>
          <p:cNvPr id="9" name="Conector recto 8"/>
          <p:cNvCxnSpPr/>
          <p:nvPr/>
        </p:nvCxnSpPr>
        <p:spPr>
          <a:xfrm>
            <a:off x="0" y="878886"/>
            <a:ext cx="168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 y="928053"/>
            <a:ext cx="120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0" y="977219"/>
            <a:ext cx="720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3715164136"/>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nterior Tx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3371" name="Diapositiva de think-cell" r:id="rId4" imgW="336" imgH="336" progId="TCLayout.ActiveDocument.1">
                  <p:embed/>
                </p:oleObj>
              </mc:Choice>
              <mc:Fallback>
                <p:oleObj name="Diapositiva de think-cell" r:id="rId4" imgW="336" imgH="336" progId="TCLayout.ActiveDocument.1">
                  <p:embed/>
                  <p:pic>
                    <p:nvPicPr>
                      <p:cNvPr id="2" name="Objeto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155577" y="-6302"/>
            <a:ext cx="11880851" cy="836023"/>
          </a:xfrm>
          <a:prstGeom prst="rect">
            <a:avLst/>
          </a:prstGeom>
          <a:ln>
            <a:noFill/>
          </a:ln>
        </p:spPr>
        <p:txBody>
          <a:bodyPr anchor="ctr"/>
          <a:lstStyle>
            <a:lvl1pPr algn="l">
              <a:defRPr sz="2531" b="1" i="0" baseline="0">
                <a:solidFill>
                  <a:schemeClr val="tx1"/>
                </a:solidFill>
                <a:latin typeface="+mj-lt"/>
                <a:ea typeface="Arial" charset="0"/>
                <a:cs typeface="Arial" charset="0"/>
              </a:defRPr>
            </a:lvl1pPr>
          </a:lstStyle>
          <a:p>
            <a:r>
              <a:rPr lang="en-GB" altLang="es-ES" dirty="0"/>
              <a:t>Click to edit master title style</a:t>
            </a:r>
          </a:p>
        </p:txBody>
      </p:sp>
      <p:sp>
        <p:nvSpPr>
          <p:cNvPr id="6"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cxnSp>
        <p:nvCxnSpPr>
          <p:cNvPr id="9" name="Conector recto 8"/>
          <p:cNvCxnSpPr/>
          <p:nvPr/>
        </p:nvCxnSpPr>
        <p:spPr>
          <a:xfrm>
            <a:off x="0" y="878886"/>
            <a:ext cx="168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 y="928053"/>
            <a:ext cx="120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0" y="977219"/>
            <a:ext cx="720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
        <p:nvSpPr>
          <p:cNvPr id="12" name="Marcador de texto 11"/>
          <p:cNvSpPr>
            <a:spLocks noGrp="1"/>
          </p:cNvSpPr>
          <p:nvPr>
            <p:ph type="body" sz="quarter" idx="10"/>
          </p:nvPr>
        </p:nvSpPr>
        <p:spPr>
          <a:xfrm>
            <a:off x="719667" y="1238250"/>
            <a:ext cx="10970987" cy="1346522"/>
          </a:xfrm>
          <a:prstGeom prst="rect">
            <a:avLst/>
          </a:prstGeom>
        </p:spPr>
        <p:txBody>
          <a:bodyPr wrap="square" lIns="0" tIns="0" rIns="0" bIns="0">
            <a:spAutoFit/>
          </a:bodyPr>
          <a:lstStyle>
            <a:lvl1pPr marL="0" indent="0">
              <a:spcBef>
                <a:spcPts val="337"/>
              </a:spcBef>
              <a:spcAft>
                <a:spcPts val="337"/>
              </a:spcAft>
              <a:buNone/>
              <a:defRPr sz="1350"/>
            </a:lvl1pPr>
          </a:lstStyle>
          <a:p>
            <a:pPr lvl="0"/>
            <a:r>
              <a:rPr lang="en-GB" dirty="0" err="1"/>
              <a:t>Editar</a:t>
            </a:r>
            <a:r>
              <a:rPr lang="en-GB" dirty="0"/>
              <a:t> </a:t>
            </a:r>
            <a:r>
              <a:rPr lang="en-GB" dirty="0" err="1"/>
              <a:t>los</a:t>
            </a:r>
            <a:r>
              <a:rPr lang="en-GB" dirty="0"/>
              <a:t> </a:t>
            </a:r>
            <a:r>
              <a:rPr lang="en-GB" dirty="0" err="1"/>
              <a:t>estilos</a:t>
            </a:r>
            <a:r>
              <a:rPr lang="en-GB" dirty="0"/>
              <a:t> de </a:t>
            </a:r>
            <a:r>
              <a:rPr lang="en-GB" dirty="0" err="1"/>
              <a:t>texto</a:t>
            </a:r>
            <a:r>
              <a:rPr lang="en-GB" dirty="0"/>
              <a:t> del </a:t>
            </a:r>
            <a:r>
              <a:rPr lang="en-GB" dirty="0" err="1"/>
              <a:t>patrón</a:t>
            </a:r>
            <a:r>
              <a:rPr lang="en-GB" dirty="0"/>
              <a:t>
Segundo </a:t>
            </a:r>
            <a:r>
              <a:rPr lang="en-GB" dirty="0" err="1"/>
              <a:t>nivel</a:t>
            </a:r>
            <a:r>
              <a:rPr lang="en-GB" dirty="0"/>
              <a:t>
</a:t>
            </a:r>
            <a:r>
              <a:rPr lang="en-GB" dirty="0" err="1"/>
              <a:t>Tercer</a:t>
            </a:r>
            <a:r>
              <a:rPr lang="en-GB" dirty="0"/>
              <a:t> </a:t>
            </a:r>
            <a:r>
              <a:rPr lang="en-GB" dirty="0" err="1"/>
              <a:t>nivel</a:t>
            </a:r>
            <a:r>
              <a:rPr lang="en-GB" dirty="0"/>
              <a:t>
Cuarto </a:t>
            </a:r>
            <a:r>
              <a:rPr lang="en-GB" dirty="0" err="1"/>
              <a:t>nivel</a:t>
            </a:r>
            <a:r>
              <a:rPr lang="en-GB" dirty="0"/>
              <a:t>
Quinto </a:t>
            </a:r>
            <a:r>
              <a:rPr lang="en-GB" dirty="0" err="1"/>
              <a:t>nivel</a:t>
            </a:r>
            <a:endParaRPr lang="en-GB" dirty="0"/>
          </a:p>
        </p:txBody>
      </p:sp>
      <p:sp>
        <p:nvSpPr>
          <p:cNvPr id="15" name="Marcador de texto 14"/>
          <p:cNvSpPr>
            <a:spLocks noGrp="1"/>
          </p:cNvSpPr>
          <p:nvPr>
            <p:ph type="body" sz="quarter" idx="11"/>
          </p:nvPr>
        </p:nvSpPr>
        <p:spPr>
          <a:xfrm>
            <a:off x="720002" y="1828800"/>
            <a:ext cx="3996565" cy="1331855"/>
          </a:xfrm>
          <a:prstGeom prst="rect">
            <a:avLst/>
          </a:prstGeom>
        </p:spPr>
        <p:txBody>
          <a:bodyPr wrap="square" lIns="0" tIns="0" rIns="0" bIns="0">
            <a:spAutoFit/>
          </a:bodyPr>
          <a:lstStyle>
            <a:lvl1pPr marL="146012" indent="-146012">
              <a:spcBef>
                <a:spcPts val="337"/>
              </a:spcBef>
              <a:spcAft>
                <a:spcPts val="169"/>
              </a:spcAft>
              <a:defRPr sz="1350"/>
            </a:lvl1pPr>
            <a:lvl2pPr marL="302739" indent="-156728">
              <a:spcBef>
                <a:spcPts val="337"/>
              </a:spcBef>
              <a:spcAft>
                <a:spcPts val="169"/>
              </a:spcAft>
              <a:defRPr sz="1266"/>
            </a:lvl2pPr>
            <a:lvl3pPr marL="448751" indent="-146012">
              <a:spcBef>
                <a:spcPts val="337"/>
              </a:spcBef>
              <a:spcAft>
                <a:spcPts val="169"/>
              </a:spcAft>
              <a:defRPr sz="1181"/>
            </a:lvl3pPr>
            <a:lvl4pPr>
              <a:defRPr sz="928"/>
            </a:lvl4pPr>
            <a:lvl5pPr>
              <a:defRPr sz="928"/>
            </a:lvl5pPr>
          </a:lstStyle>
          <a:p>
            <a:pPr lvl="0"/>
            <a:r>
              <a:rPr lang="en-GB" dirty="0" err="1"/>
              <a:t>Editar</a:t>
            </a:r>
            <a:r>
              <a:rPr lang="en-GB" dirty="0"/>
              <a:t> </a:t>
            </a:r>
            <a:r>
              <a:rPr lang="en-GB" dirty="0" err="1"/>
              <a:t>los</a:t>
            </a:r>
            <a:r>
              <a:rPr lang="en-GB" dirty="0"/>
              <a:t> </a:t>
            </a:r>
            <a:r>
              <a:rPr lang="en-GB" dirty="0" err="1"/>
              <a:t>estilos</a:t>
            </a:r>
            <a:r>
              <a:rPr lang="en-GB" dirty="0"/>
              <a:t> de </a:t>
            </a:r>
            <a:r>
              <a:rPr lang="en-GB" dirty="0" err="1"/>
              <a:t>texto</a:t>
            </a:r>
            <a:r>
              <a:rPr lang="en-GB" dirty="0"/>
              <a:t> del </a:t>
            </a:r>
            <a:r>
              <a:rPr lang="en-GB" dirty="0" err="1"/>
              <a:t>patrón</a:t>
            </a:r>
            <a:r>
              <a:rPr lang="en-GB" dirty="0"/>
              <a:t>
Segundo </a:t>
            </a:r>
            <a:r>
              <a:rPr lang="en-GB" dirty="0" err="1"/>
              <a:t>nivel</a:t>
            </a:r>
            <a:r>
              <a:rPr lang="en-GB" dirty="0"/>
              <a:t>
</a:t>
            </a:r>
            <a:r>
              <a:rPr lang="en-GB" dirty="0" err="1"/>
              <a:t>Tercer</a:t>
            </a:r>
            <a:r>
              <a:rPr lang="en-GB" dirty="0"/>
              <a:t> </a:t>
            </a:r>
            <a:r>
              <a:rPr lang="en-GB" dirty="0" err="1"/>
              <a:t>nivel</a:t>
            </a:r>
            <a:r>
              <a:rPr lang="en-GB" dirty="0"/>
              <a:t>
Cuarto </a:t>
            </a:r>
            <a:r>
              <a:rPr lang="en-GB" dirty="0" err="1"/>
              <a:t>nivel</a:t>
            </a:r>
            <a:r>
              <a:rPr lang="en-GB" dirty="0"/>
              <a:t>
Quinto </a:t>
            </a:r>
            <a:r>
              <a:rPr lang="en-GB" dirty="0" err="1"/>
              <a:t>nivel</a:t>
            </a:r>
            <a:endParaRPr lang="en-GB" dirty="0"/>
          </a:p>
        </p:txBody>
      </p:sp>
    </p:spTree>
    <p:extLst>
      <p:ext uri="{BB962C8B-B14F-4D97-AF65-F5344CB8AC3E}">
        <p14:creationId xmlns:p14="http://schemas.microsoft.com/office/powerpoint/2010/main" val="2061388577"/>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arador">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4128195" y="3097089"/>
            <a:ext cx="3905428" cy="584327"/>
          </a:xfrm>
          <a:prstGeom prst="rect">
            <a:avLst/>
          </a:prstGeom>
        </p:spPr>
        <p:txBody>
          <a:bodyPr wrap="none" lIns="0" tIns="0" rIns="0" bIns="0" anchor="b" anchorCtr="0">
            <a:spAutoFit/>
          </a:bodyPr>
          <a:lstStyle>
            <a:lvl1pPr marL="0" indent="0" algn="ctr">
              <a:buClr>
                <a:schemeClr val="bg1"/>
              </a:buClr>
              <a:buSzPct val="100000"/>
              <a:buFont typeface="Arial" panose="020B0604020202020204" pitchFamily="34" charset="0"/>
              <a:buNone/>
              <a:defRPr lang="es-ES" altLang="es-ES" sz="3797"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
        <p:nvSpPr>
          <p:cNvPr id="3"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sp>
        <p:nvSpPr>
          <p:cNvPr id="6" name="Rectángulo 5"/>
          <p:cNvSpPr/>
          <p:nvPr/>
        </p:nvSpPr>
        <p:spPr>
          <a:xfrm>
            <a:off x="5113571" y="3886908"/>
            <a:ext cx="1934679"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9" dirty="0">
              <a:latin typeface="Arial" charset="0"/>
            </a:endParaRPr>
          </a:p>
        </p:txBody>
      </p:sp>
      <p:pic>
        <p:nvPicPr>
          <p:cNvPr id="7" name="Imagen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1537009892"/>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parador">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336001" y="2665466"/>
            <a:ext cx="11519999" cy="467508"/>
          </a:xfrm>
          <a:prstGeom prst="rect">
            <a:avLst/>
          </a:prstGeom>
        </p:spPr>
        <p:txBody>
          <a:bodyPr wrap="square" lIns="0" tIns="0" rIns="0" bIns="0" anchor="b" anchorCtr="0">
            <a:spAutoFit/>
          </a:bodyPr>
          <a:lstStyle>
            <a:lvl1pPr marL="0" indent="0" algn="ctr">
              <a:buClr>
                <a:schemeClr val="bg1"/>
              </a:buClr>
              <a:buSzPct val="100000"/>
              <a:buFont typeface="Arial" panose="020B0604020202020204" pitchFamily="34" charset="0"/>
              <a:buNone/>
              <a:defRPr lang="es-ES" altLang="es-ES" sz="3038"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
        <p:nvSpPr>
          <p:cNvPr id="3"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sp>
        <p:nvSpPr>
          <p:cNvPr id="6" name="Rectángulo 5"/>
          <p:cNvSpPr/>
          <p:nvPr/>
        </p:nvSpPr>
        <p:spPr>
          <a:xfrm>
            <a:off x="4292647" y="3352690"/>
            <a:ext cx="3606709"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9" dirty="0">
              <a:latin typeface="Arial" charset="0"/>
            </a:endParaRPr>
          </a:p>
        </p:txBody>
      </p:sp>
      <p:pic>
        <p:nvPicPr>
          <p:cNvPr id="7" name="Imagen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
        <p:nvSpPr>
          <p:cNvPr id="8" name="2 Marcador de contenido"/>
          <p:cNvSpPr>
            <a:spLocks noGrp="1"/>
          </p:cNvSpPr>
          <p:nvPr>
            <p:ph sz="half" idx="13" hasCustomPrompt="1"/>
          </p:nvPr>
        </p:nvSpPr>
        <p:spPr>
          <a:xfrm>
            <a:off x="336001" y="3774875"/>
            <a:ext cx="11519999" cy="467508"/>
          </a:xfrm>
          <a:prstGeom prst="rect">
            <a:avLst/>
          </a:prstGeom>
        </p:spPr>
        <p:txBody>
          <a:bodyPr wrap="square" lIns="0" tIns="0" rIns="0" bIns="0" anchor="t" anchorCtr="0">
            <a:spAutoFit/>
          </a:bodyPr>
          <a:lstStyle>
            <a:lvl1pPr marL="0" indent="0" algn="ctr">
              <a:buClr>
                <a:schemeClr val="bg1"/>
              </a:buClr>
              <a:buSzPct val="100000"/>
              <a:buFont typeface="Arial" panose="020B0604020202020204" pitchFamily="34" charset="0"/>
              <a:buNone/>
              <a:defRPr lang="es-ES" altLang="es-ES" sz="3038"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Tree>
    <p:extLst>
      <p:ext uri="{BB962C8B-B14F-4D97-AF65-F5344CB8AC3E}">
        <p14:creationId xmlns:p14="http://schemas.microsoft.com/office/powerpoint/2010/main" val="527647952"/>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En Blanco">
    <p:spTree>
      <p:nvGrpSpPr>
        <p:cNvPr id="1" name=""/>
        <p:cNvGrpSpPr/>
        <p:nvPr/>
      </p:nvGrpSpPr>
      <p:grpSpPr>
        <a:xfrm>
          <a:off x="0" y="0"/>
          <a:ext cx="0" cy="0"/>
          <a:chOff x="0" y="0"/>
          <a:chExt cx="0" cy="0"/>
        </a:xfrm>
      </p:grpSpPr>
      <p:sp>
        <p:nvSpPr>
          <p:cNvPr id="2"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pic>
        <p:nvPicPr>
          <p:cNvPr id="4" name="Imagen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13431062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65489" y="1828800"/>
            <a:ext cx="4253068" cy="4191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5466021" y="1828800"/>
            <a:ext cx="4253068" cy="4191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3E0FA9E5-6744-4841-888F-9E7CC0C2B7EC}" type="datetimeFigureOut">
              <a:rPr lang="en-US"/>
              <a:t>9/3/20</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AEAE4A8-A6E5-453E-B946-FB774B73F48C}" type="slidenum">
              <a:rPr/>
              <a:t>‹#›</a:t>
            </a:fld>
            <a:endParaRPr/>
          </a:p>
        </p:txBody>
      </p:sp>
      <p:sp>
        <p:nvSpPr>
          <p:cNvPr id="8" name="Title Placeholder 1">
            <a:extLst>
              <a:ext uri="{FF2B5EF4-FFF2-40B4-BE49-F238E27FC236}">
                <a16:creationId xmlns:a16="http://schemas.microsoft.com/office/drawing/2014/main" id="{54540AFF-F6F4-4BA4-9477-671E24C9FB2D}"/>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09986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sp>
        <p:nvSpPr>
          <p:cNvPr id="8" name="2 Marcador de contenido"/>
          <p:cNvSpPr>
            <a:spLocks noGrp="1"/>
          </p:cNvSpPr>
          <p:nvPr>
            <p:ph sz="half" idx="12" hasCustomPrompt="1"/>
          </p:nvPr>
        </p:nvSpPr>
        <p:spPr>
          <a:xfrm>
            <a:off x="431370" y="1707055"/>
            <a:ext cx="6883832" cy="2964500"/>
          </a:xfrm>
          <a:prstGeom prst="rect">
            <a:avLst/>
          </a:prstGeom>
        </p:spPr>
        <p:txBody>
          <a:bodyPr lIns="121917" tIns="60958" rIns="121917" bIns="60958"/>
          <a:lstStyle>
            <a:lvl1pPr marL="0" indent="0" algn="l">
              <a:lnSpc>
                <a:spcPts val="5839"/>
              </a:lnSpc>
              <a:spcBef>
                <a:spcPts val="1013"/>
              </a:spcBef>
              <a:buClr>
                <a:schemeClr val="bg1"/>
              </a:buClr>
              <a:buSzPct val="100000"/>
              <a:buFont typeface="Arial" panose="020B0604020202020204" pitchFamily="34" charset="0"/>
              <a:buNone/>
              <a:defRPr lang="es-ES" altLang="es-ES" sz="5063" b="0" i="0" kern="1200" spc="-9" baseline="0" dirty="0" smtClean="0">
                <a:solidFill>
                  <a:schemeClr val="tx1"/>
                </a:solidFill>
                <a:latin typeface="Arial" charset="0"/>
                <a:ea typeface="Arial" charset="0"/>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master title style</a:t>
            </a:r>
          </a:p>
        </p:txBody>
      </p:sp>
      <p:sp>
        <p:nvSpPr>
          <p:cNvPr id="10" name="2 Marcador de contenido"/>
          <p:cNvSpPr>
            <a:spLocks noGrp="1"/>
          </p:cNvSpPr>
          <p:nvPr>
            <p:ph sz="half" idx="13" hasCustomPrompt="1"/>
          </p:nvPr>
        </p:nvSpPr>
        <p:spPr>
          <a:xfrm>
            <a:off x="431370" y="5199806"/>
            <a:ext cx="7510849" cy="602916"/>
          </a:xfrm>
          <a:prstGeom prst="rect">
            <a:avLst/>
          </a:prstGeom>
        </p:spPr>
        <p:txBody>
          <a:bodyPr lIns="121917" tIns="60958" rIns="121917" bIns="60958"/>
          <a:lstStyle>
            <a:lvl1pPr marL="0" indent="0" algn="l">
              <a:buClr>
                <a:schemeClr val="bg1"/>
              </a:buClr>
              <a:buSzPct val="100000"/>
              <a:buFont typeface="Arial" panose="020B0604020202020204" pitchFamily="34" charset="0"/>
              <a:buNone/>
              <a:defRPr lang="es-ES" altLang="es-ES" sz="1518" b="0" i="0" kern="1200" spc="-9" baseline="0" dirty="0" smtClean="0">
                <a:solidFill>
                  <a:schemeClr val="tx1"/>
                </a:solidFill>
                <a:latin typeface="Arial" charset="0"/>
                <a:ea typeface="Arial" charset="0"/>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master title style</a:t>
            </a:r>
          </a:p>
        </p:txBody>
      </p:sp>
      <p:pic>
        <p:nvPicPr>
          <p:cNvPr id="5" name="Picture 6" descr="D:\PROYECTOS\RECURSOS\TELEFÓNICA\LOGOS Telefónica\TEL logo_pos.pn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431369" y="648138"/>
            <a:ext cx="1957707" cy="616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4902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erior 1">
    <p:spTree>
      <p:nvGrpSpPr>
        <p:cNvPr id="1" name=""/>
        <p:cNvGrpSpPr/>
        <p:nvPr/>
      </p:nvGrpSpPr>
      <p:grpSpPr>
        <a:xfrm>
          <a:off x="0" y="0"/>
          <a:ext cx="0" cy="0"/>
          <a:chOff x="0" y="0"/>
          <a:chExt cx="0" cy="0"/>
        </a:xfrm>
      </p:grpSpPr>
      <p:sp>
        <p:nvSpPr>
          <p:cNvPr id="4" name="1 Título"/>
          <p:cNvSpPr>
            <a:spLocks noGrp="1"/>
          </p:cNvSpPr>
          <p:nvPr>
            <p:ph type="title" hasCustomPrompt="1"/>
          </p:nvPr>
        </p:nvSpPr>
        <p:spPr>
          <a:xfrm>
            <a:off x="418307" y="303200"/>
            <a:ext cx="11468894" cy="836023"/>
          </a:xfrm>
          <a:prstGeom prst="rect">
            <a:avLst/>
          </a:prstGeom>
          <a:ln>
            <a:noFill/>
          </a:ln>
        </p:spPr>
        <p:txBody>
          <a:bodyPr anchor="ctr"/>
          <a:lstStyle>
            <a:lvl1pPr algn="l">
              <a:defRPr sz="3038" b="0" i="0" baseline="0">
                <a:solidFill>
                  <a:schemeClr val="tx1"/>
                </a:solidFill>
                <a:latin typeface="Arial" charset="0"/>
                <a:ea typeface="Arial" charset="0"/>
                <a:cs typeface="Arial" charset="0"/>
              </a:defRPr>
            </a:lvl1pPr>
          </a:lstStyle>
          <a:p>
            <a:r>
              <a:rPr lang="en-GB" altLang="es-ES" dirty="0"/>
              <a:t>Click to edit master title style</a:t>
            </a:r>
          </a:p>
        </p:txBody>
      </p:sp>
      <p:sp>
        <p:nvSpPr>
          <p:cNvPr id="6"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7" name="2 Marcador de contenido"/>
          <p:cNvSpPr>
            <a:spLocks noGrp="1"/>
          </p:cNvSpPr>
          <p:nvPr>
            <p:ph sz="half" idx="12" hasCustomPrompt="1"/>
          </p:nvPr>
        </p:nvSpPr>
        <p:spPr>
          <a:xfrm>
            <a:off x="418307" y="1856731"/>
            <a:ext cx="11439586" cy="3381213"/>
          </a:xfrm>
          <a:prstGeom prst="rect">
            <a:avLst/>
          </a:prstGeom>
        </p:spPr>
        <p:txBody>
          <a:bodyPr/>
          <a:lstStyle>
            <a:lvl1pPr marL="289344" indent="-289344">
              <a:buSzPct val="100000"/>
              <a:buFont typeface="Arial" panose="020B0604020202020204" pitchFamily="34" charset="0"/>
              <a:buChar char="•"/>
              <a:defRPr sz="2025">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68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518">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8" name="2 Marcador de texto"/>
          <p:cNvSpPr>
            <a:spLocks noGrp="1"/>
          </p:cNvSpPr>
          <p:nvPr>
            <p:ph type="body" idx="10" hasCustomPrompt="1"/>
          </p:nvPr>
        </p:nvSpPr>
        <p:spPr>
          <a:xfrm>
            <a:off x="431372" y="938242"/>
            <a:ext cx="10047719" cy="639763"/>
          </a:xfrm>
          <a:prstGeom prst="rect">
            <a:avLst/>
          </a:prstGeom>
          <a:ln>
            <a:noFill/>
          </a:ln>
        </p:spPr>
        <p:txBody>
          <a:bodyPr anchor="ctr" anchorCtr="0"/>
          <a:lstStyle>
            <a:lvl1pPr marL="0" marR="0" indent="0" algn="l" defTabSz="1028752" rtl="0" eaLnBrk="1" fontAlgn="base" latinLnBrk="0" hangingPunct="1">
              <a:lnSpc>
                <a:spcPct val="100000"/>
              </a:lnSpc>
              <a:spcBef>
                <a:spcPct val="0"/>
              </a:spcBef>
              <a:spcAft>
                <a:spcPct val="0"/>
              </a:spcAft>
              <a:buClrTx/>
              <a:buSzTx/>
              <a:buFontTx/>
              <a:buNone/>
              <a:tabLst/>
              <a:defRPr sz="2025" b="0">
                <a:solidFill>
                  <a:schemeClr val="tx2"/>
                </a:solidFill>
                <a:latin typeface="Arial" panose="020B0604020202020204" pitchFamily="34" charset="0"/>
                <a:cs typeface="Arial" panose="020B0604020202020204" pitchFamily="34" charset="0"/>
              </a:defRPr>
            </a:lvl1pPr>
            <a:lvl2pPr marL="514375" indent="0">
              <a:buNone/>
              <a:defRPr sz="2250" b="1"/>
            </a:lvl2pPr>
            <a:lvl3pPr marL="1028752" indent="0">
              <a:buNone/>
              <a:defRPr sz="2025" b="1"/>
            </a:lvl3pPr>
            <a:lvl4pPr marL="1543126" indent="0">
              <a:buNone/>
              <a:defRPr sz="1799" b="1"/>
            </a:lvl4pPr>
            <a:lvl5pPr marL="2057503" indent="0">
              <a:buNone/>
              <a:defRPr sz="1799" b="1"/>
            </a:lvl5pPr>
            <a:lvl6pPr marL="2571878" indent="0">
              <a:buNone/>
              <a:defRPr sz="1799" b="1"/>
            </a:lvl6pPr>
            <a:lvl7pPr marL="3086253" indent="0">
              <a:buNone/>
              <a:defRPr sz="1799" b="1"/>
            </a:lvl7pPr>
            <a:lvl8pPr marL="3600629" indent="0">
              <a:buNone/>
              <a:defRPr sz="1799" b="1"/>
            </a:lvl8pPr>
            <a:lvl9pPr marL="4115004" indent="0">
              <a:buNone/>
              <a:defRPr sz="1799" b="1"/>
            </a:lvl9pPr>
          </a:lstStyle>
          <a:p>
            <a:pPr lvl="0"/>
            <a:r>
              <a:rPr lang="en-GB" dirty="0"/>
              <a:t>Click to edit master subheading style</a:t>
            </a: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3833591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ior 5">
    <p:spTree>
      <p:nvGrpSpPr>
        <p:cNvPr id="1" name=""/>
        <p:cNvGrpSpPr/>
        <p:nvPr/>
      </p:nvGrpSpPr>
      <p:grpSpPr>
        <a:xfrm>
          <a:off x="0" y="0"/>
          <a:ext cx="0" cy="0"/>
          <a:chOff x="0" y="0"/>
          <a:chExt cx="0" cy="0"/>
        </a:xfrm>
      </p:grpSpPr>
      <p:sp>
        <p:nvSpPr>
          <p:cNvPr id="9"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10" name="1 Título"/>
          <p:cNvSpPr>
            <a:spLocks noGrp="1"/>
          </p:cNvSpPr>
          <p:nvPr>
            <p:ph type="title" hasCustomPrompt="1"/>
          </p:nvPr>
        </p:nvSpPr>
        <p:spPr>
          <a:xfrm>
            <a:off x="418307" y="303200"/>
            <a:ext cx="11468894" cy="836023"/>
          </a:xfrm>
          <a:prstGeom prst="rect">
            <a:avLst/>
          </a:prstGeom>
          <a:ln>
            <a:noFill/>
          </a:ln>
        </p:spPr>
        <p:txBody>
          <a:bodyPr anchor="ctr"/>
          <a:lstStyle>
            <a:lvl1pPr algn="l" rtl="0" eaLnBrk="0" fontAlgn="base" hangingPunct="0">
              <a:spcBef>
                <a:spcPct val="0"/>
              </a:spcBef>
              <a:spcAft>
                <a:spcPct val="0"/>
              </a:spcAft>
              <a:defRPr lang="es-ES" altLang="es-ES" sz="3038" b="0" i="0" kern="1200" baseline="0" dirty="0" smtClean="0">
                <a:solidFill>
                  <a:schemeClr val="tx1"/>
                </a:solidFill>
                <a:latin typeface="Arial" charset="0"/>
                <a:ea typeface="Arial" charset="0"/>
                <a:cs typeface="Arial" charset="0"/>
              </a:defRPr>
            </a:lvl1pPr>
          </a:lstStyle>
          <a:p>
            <a:r>
              <a:rPr lang="en-GB" altLang="es-ES" dirty="0"/>
              <a:t>Click to edit master title style</a:t>
            </a:r>
          </a:p>
        </p:txBody>
      </p:sp>
      <p:sp>
        <p:nvSpPr>
          <p:cNvPr id="7" name="2 Marcador de contenido"/>
          <p:cNvSpPr>
            <a:spLocks noGrp="1"/>
          </p:cNvSpPr>
          <p:nvPr>
            <p:ph sz="half" idx="12" hasCustomPrompt="1"/>
          </p:nvPr>
        </p:nvSpPr>
        <p:spPr>
          <a:xfrm>
            <a:off x="418308" y="1617346"/>
            <a:ext cx="5182393" cy="4418796"/>
          </a:xfrm>
          <a:prstGeom prst="rect">
            <a:avLst/>
          </a:prstGeom>
        </p:spPr>
        <p:txBody>
          <a:bodyPr/>
          <a:lstStyle>
            <a:lvl1pPr marL="289344" indent="-289344">
              <a:buSzPct val="100000"/>
              <a:buFont typeface="Arial" panose="020B0604020202020204" pitchFamily="34" charset="0"/>
              <a:buChar char="•"/>
              <a:defRPr sz="1688" baseline="0">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51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350">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8" name="2 Marcador de contenido"/>
          <p:cNvSpPr>
            <a:spLocks noGrp="1"/>
          </p:cNvSpPr>
          <p:nvPr>
            <p:ph sz="half" idx="13" hasCustomPrompt="1"/>
          </p:nvPr>
        </p:nvSpPr>
        <p:spPr>
          <a:xfrm>
            <a:off x="5980908" y="1586882"/>
            <a:ext cx="5182393" cy="4418796"/>
          </a:xfrm>
          <a:prstGeom prst="rect">
            <a:avLst/>
          </a:prstGeom>
        </p:spPr>
        <p:txBody>
          <a:bodyPr/>
          <a:lstStyle>
            <a:lvl1pPr marL="289344" indent="-289344">
              <a:buSzPct val="100000"/>
              <a:buFont typeface="Arial" panose="020B0604020202020204" pitchFamily="34" charset="0"/>
              <a:buChar char="•"/>
              <a:defRPr sz="1688">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51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350">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12" name="2 Marcador de texto"/>
          <p:cNvSpPr>
            <a:spLocks noGrp="1"/>
          </p:cNvSpPr>
          <p:nvPr>
            <p:ph type="body" idx="10" hasCustomPrompt="1"/>
          </p:nvPr>
        </p:nvSpPr>
        <p:spPr>
          <a:xfrm>
            <a:off x="431372" y="874898"/>
            <a:ext cx="10047719" cy="639763"/>
          </a:xfrm>
          <a:prstGeom prst="rect">
            <a:avLst/>
          </a:prstGeom>
          <a:ln>
            <a:noFill/>
          </a:ln>
        </p:spPr>
        <p:txBody>
          <a:bodyPr anchor="ctr" anchorCtr="0"/>
          <a:lstStyle>
            <a:lvl1pPr marL="0" marR="0" indent="0" algn="l" defTabSz="1028752" rtl="0" eaLnBrk="1" fontAlgn="base" latinLnBrk="0" hangingPunct="1">
              <a:lnSpc>
                <a:spcPct val="100000"/>
              </a:lnSpc>
              <a:spcBef>
                <a:spcPct val="0"/>
              </a:spcBef>
              <a:spcAft>
                <a:spcPct val="0"/>
              </a:spcAft>
              <a:buClrTx/>
              <a:buSzTx/>
              <a:buFontTx/>
              <a:buNone/>
              <a:tabLst/>
              <a:defRPr sz="2025" b="0">
                <a:solidFill>
                  <a:schemeClr val="tx2"/>
                </a:solidFill>
                <a:latin typeface="Arial" panose="020B0604020202020204" pitchFamily="34" charset="0"/>
                <a:cs typeface="Arial" panose="020B0604020202020204" pitchFamily="34" charset="0"/>
              </a:defRPr>
            </a:lvl1pPr>
            <a:lvl2pPr marL="514375" indent="0">
              <a:buNone/>
              <a:defRPr sz="2250" b="1"/>
            </a:lvl2pPr>
            <a:lvl3pPr marL="1028752" indent="0">
              <a:buNone/>
              <a:defRPr sz="2025" b="1"/>
            </a:lvl3pPr>
            <a:lvl4pPr marL="1543126" indent="0">
              <a:buNone/>
              <a:defRPr sz="1799" b="1"/>
            </a:lvl4pPr>
            <a:lvl5pPr marL="2057503" indent="0">
              <a:buNone/>
              <a:defRPr sz="1799" b="1"/>
            </a:lvl5pPr>
            <a:lvl6pPr marL="2571878" indent="0">
              <a:buNone/>
              <a:defRPr sz="1799" b="1"/>
            </a:lvl6pPr>
            <a:lvl7pPr marL="3086253" indent="0">
              <a:buNone/>
              <a:defRPr sz="1799" b="1"/>
            </a:lvl7pPr>
            <a:lvl8pPr marL="3600629" indent="0">
              <a:buNone/>
              <a:defRPr sz="1799" b="1"/>
            </a:lvl8pPr>
            <a:lvl9pPr marL="4115004" indent="0">
              <a:buNone/>
              <a:defRPr sz="1799" b="1"/>
            </a:lvl9pPr>
          </a:lstStyle>
          <a:p>
            <a:pPr lvl="0"/>
            <a:r>
              <a:rPr lang="en-GB" dirty="0"/>
              <a:t>Click to edit master subheading style</a:t>
            </a:r>
          </a:p>
        </p:txBody>
      </p:sp>
      <p:pic>
        <p:nvPicPr>
          <p:cNvPr id="13" name="Imagen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7659869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Separadores">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431372" y="1952100"/>
            <a:ext cx="11299074" cy="2953803"/>
          </a:xfrm>
          <a:prstGeom prst="rect">
            <a:avLst/>
          </a:prstGeom>
        </p:spPr>
        <p:txBody>
          <a:bodyPr lIns="121917" tIns="60958" rIns="121917" bIns="60958" anchor="ctr"/>
          <a:lstStyle>
            <a:lvl1pPr marL="0" indent="0" algn="ctr">
              <a:buClr>
                <a:schemeClr val="bg1"/>
              </a:buClr>
              <a:buSzPct val="100000"/>
              <a:buFont typeface="Arial" panose="020B0604020202020204" pitchFamily="34" charset="0"/>
              <a:buNone/>
              <a:defRPr lang="es-ES" altLang="es-ES" sz="5063" b="0" i="0" kern="1200" spc="-85" baseline="0" dirty="0" smtClean="0">
                <a:solidFill>
                  <a:schemeClr val="tx1"/>
                </a:solidFill>
                <a:latin typeface="Arial" charset="0"/>
                <a:ea typeface="MS PGothic" pitchFamily="34" charset="-128"/>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title style</a:t>
            </a:r>
          </a:p>
        </p:txBody>
      </p:sp>
      <p:sp>
        <p:nvSpPr>
          <p:cNvPr id="3"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6" name="Rectángulo 5"/>
          <p:cNvSpPr/>
          <p:nvPr userDrawn="1"/>
        </p:nvSpPr>
        <p:spPr>
          <a:xfrm>
            <a:off x="5113569" y="4432340"/>
            <a:ext cx="1934678"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18" dirty="0">
              <a:latin typeface="Arial" charset="0"/>
            </a:endParaRPr>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1298040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WOT 01">
    <p:spTree>
      <p:nvGrpSpPr>
        <p:cNvPr id="1" name=""/>
        <p:cNvGrpSpPr/>
        <p:nvPr/>
      </p:nvGrpSpPr>
      <p:grpSpPr>
        <a:xfrm>
          <a:off x="0" y="0"/>
          <a:ext cx="0" cy="0"/>
          <a:chOff x="0" y="0"/>
          <a:chExt cx="0" cy="0"/>
        </a:xfrm>
      </p:grpSpPr>
      <p:sp>
        <p:nvSpPr>
          <p:cNvPr id="4" name="Shape 2"/>
          <p:cNvSpPr/>
          <p:nvPr userDrawn="1"/>
        </p:nvSpPr>
        <p:spPr>
          <a:xfrm>
            <a:off x="9428" y="2"/>
            <a:ext cx="12192000" cy="6868347"/>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34745">
              <a:defRPr sz="4000">
                <a:solidFill>
                  <a:srgbClr val="FFFFFF"/>
                </a:solidFill>
                <a:effectLst>
                  <a:outerShdw blurRad="38100" dist="12700" dir="5400000" rotWithShape="0">
                    <a:srgbClr val="000000">
                      <a:alpha val="50000"/>
                    </a:srgbClr>
                  </a:outerShdw>
                </a:effectLst>
              </a:defRPr>
            </a:pPr>
            <a:endParaRPr lang="en-GB" sz="1607" dirty="0"/>
          </a:p>
        </p:txBody>
      </p:sp>
      <p:sp>
        <p:nvSpPr>
          <p:cNvPr id="12" name="Picture Placeholder 11"/>
          <p:cNvSpPr>
            <a:spLocks noGrp="1"/>
          </p:cNvSpPr>
          <p:nvPr>
            <p:ph type="pic" sz="quarter" idx="11" hasCustomPrompt="1"/>
          </p:nvPr>
        </p:nvSpPr>
        <p:spPr>
          <a:xfrm>
            <a:off x="5577843" y="243842"/>
            <a:ext cx="6614158" cy="6614160"/>
          </a:xfrm>
          <a:custGeom>
            <a:avLst/>
            <a:gdLst>
              <a:gd name="connsiteX0" fmla="*/ 6614159 w 6614159"/>
              <a:gd name="connsiteY0" fmla="*/ 0 h 6614160"/>
              <a:gd name="connsiteX1" fmla="*/ 6614159 w 6614159"/>
              <a:gd name="connsiteY1" fmla="*/ 3418065 h 6614160"/>
              <a:gd name="connsiteX2" fmla="*/ 3418064 w 6614159"/>
              <a:gd name="connsiteY2" fmla="*/ 6614160 h 6614160"/>
              <a:gd name="connsiteX3" fmla="*/ 0 w 6614159"/>
              <a:gd name="connsiteY3" fmla="*/ 6614160 h 6614160"/>
              <a:gd name="connsiteX4" fmla="*/ 6614159 w 6614159"/>
              <a:gd name="connsiteY4" fmla="*/ 0 h 661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60">
                <a:moveTo>
                  <a:pt x="6614159" y="0"/>
                </a:moveTo>
                <a:lnTo>
                  <a:pt x="6614159" y="3418065"/>
                </a:lnTo>
                <a:cubicBezTo>
                  <a:pt x="4849004" y="3418065"/>
                  <a:pt x="3418064" y="4849006"/>
                  <a:pt x="3418064" y="6614160"/>
                </a:cubicBezTo>
                <a:lnTo>
                  <a:pt x="0" y="6614160"/>
                </a:lnTo>
                <a:cubicBezTo>
                  <a:pt x="0" y="2961260"/>
                  <a:pt x="2961259" y="0"/>
                  <a:pt x="6614159" y="0"/>
                </a:cubicBezTo>
                <a:close/>
              </a:path>
            </a:pathLst>
          </a:custGeom>
          <a:pattFill prst="pct5">
            <a:fgClr>
              <a:schemeClr val="bg1"/>
            </a:fgClr>
            <a:bgClr>
              <a:schemeClr val="tx2">
                <a:lumMod val="20000"/>
                <a:lumOff val="80000"/>
              </a:schemeClr>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286" b="0" i="0">
                <a:latin typeface="Source Sans Pro" charset="0"/>
                <a:ea typeface="Source Sans Pro" charset="0"/>
                <a:cs typeface="Source Sans Pro" charset="0"/>
              </a:defRPr>
            </a:lvl1pPr>
          </a:lstStyle>
          <a:p>
            <a:r>
              <a:rPr lang="en-GB" dirty="0"/>
              <a:t>Drag &amp; Drop Image</a:t>
            </a:r>
          </a:p>
        </p:txBody>
      </p:sp>
    </p:spTree>
    <p:extLst>
      <p:ext uri="{BB962C8B-B14F-4D97-AF65-F5344CB8AC3E}">
        <p14:creationId xmlns:p14="http://schemas.microsoft.com/office/powerpoint/2010/main" val="26452283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WOT 04">
    <p:spTree>
      <p:nvGrpSpPr>
        <p:cNvPr id="1" name=""/>
        <p:cNvGrpSpPr/>
        <p:nvPr/>
      </p:nvGrpSpPr>
      <p:grpSpPr>
        <a:xfrm>
          <a:off x="0" y="0"/>
          <a:ext cx="0" cy="0"/>
          <a:chOff x="0" y="0"/>
          <a:chExt cx="0" cy="0"/>
        </a:xfrm>
      </p:grpSpPr>
      <p:sp>
        <p:nvSpPr>
          <p:cNvPr id="4" name="Shape 2"/>
          <p:cNvSpPr/>
          <p:nvPr userDrawn="1"/>
        </p:nvSpPr>
        <p:spPr>
          <a:xfrm>
            <a:off x="9428" y="2"/>
            <a:ext cx="12192000" cy="6868347"/>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34745">
              <a:defRPr sz="4000">
                <a:solidFill>
                  <a:srgbClr val="FFFFFF"/>
                </a:solidFill>
                <a:effectLst>
                  <a:outerShdw blurRad="38100" dist="12700" dir="5400000" rotWithShape="0">
                    <a:srgbClr val="000000">
                      <a:alpha val="50000"/>
                    </a:srgbClr>
                  </a:outerShdw>
                </a:effectLst>
              </a:defRPr>
            </a:pPr>
            <a:endParaRPr lang="en-GB" sz="1607" dirty="0"/>
          </a:p>
        </p:txBody>
      </p:sp>
      <p:sp>
        <p:nvSpPr>
          <p:cNvPr id="9" name="Picture Placeholder 8"/>
          <p:cNvSpPr>
            <a:spLocks noGrp="1"/>
          </p:cNvSpPr>
          <p:nvPr>
            <p:ph type="pic" sz="quarter" idx="11" hasCustomPrompt="1"/>
          </p:nvPr>
        </p:nvSpPr>
        <p:spPr>
          <a:xfrm>
            <a:off x="5577843" y="3"/>
            <a:ext cx="6614158" cy="6614159"/>
          </a:xfrm>
          <a:custGeom>
            <a:avLst/>
            <a:gdLst>
              <a:gd name="connsiteX0" fmla="*/ 0 w 6614159"/>
              <a:gd name="connsiteY0" fmla="*/ 0 h 6614159"/>
              <a:gd name="connsiteX1" fmla="*/ 3418064 w 6614159"/>
              <a:gd name="connsiteY1" fmla="*/ 0 h 6614159"/>
              <a:gd name="connsiteX2" fmla="*/ 6614159 w 6614159"/>
              <a:gd name="connsiteY2" fmla="*/ 3196094 h 6614159"/>
              <a:gd name="connsiteX3" fmla="*/ 6614159 w 6614159"/>
              <a:gd name="connsiteY3" fmla="*/ 6614159 h 6614159"/>
              <a:gd name="connsiteX4" fmla="*/ 0 w 6614159"/>
              <a:gd name="connsiteY4" fmla="*/ 0 h 661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59">
                <a:moveTo>
                  <a:pt x="0" y="0"/>
                </a:moveTo>
                <a:lnTo>
                  <a:pt x="3418064" y="0"/>
                </a:lnTo>
                <a:cubicBezTo>
                  <a:pt x="3418064" y="1765154"/>
                  <a:pt x="4849004" y="3196094"/>
                  <a:pt x="6614159" y="3196094"/>
                </a:cubicBezTo>
                <a:lnTo>
                  <a:pt x="6614159" y="6614159"/>
                </a:lnTo>
                <a:cubicBezTo>
                  <a:pt x="2961259" y="6614159"/>
                  <a:pt x="0" y="3652899"/>
                  <a:pt x="0" y="0"/>
                </a:cubicBezTo>
                <a:close/>
              </a:path>
            </a:pathLst>
          </a:custGeom>
          <a:pattFill prst="pct5">
            <a:fgClr>
              <a:schemeClr val="bg1"/>
            </a:fgClr>
            <a:bgClr>
              <a:schemeClr val="tx2">
                <a:lumMod val="20000"/>
                <a:lumOff val="80000"/>
              </a:schemeClr>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286" b="0" i="0">
                <a:latin typeface="Source Sans Pro" charset="0"/>
                <a:ea typeface="Source Sans Pro" charset="0"/>
                <a:cs typeface="Source Sans Pro" charset="0"/>
              </a:defRPr>
            </a:lvl1pPr>
          </a:lstStyle>
          <a:p>
            <a:r>
              <a:rPr lang="en-GB" dirty="0"/>
              <a:t>Drag &amp; Drop Image</a:t>
            </a:r>
          </a:p>
        </p:txBody>
      </p:sp>
    </p:spTree>
    <p:extLst>
      <p:ext uri="{BB962C8B-B14F-4D97-AF65-F5344CB8AC3E}">
        <p14:creationId xmlns:p14="http://schemas.microsoft.com/office/powerpoint/2010/main" val="16455570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65490" y="1828800"/>
            <a:ext cx="4253068" cy="685801"/>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65490" y="2590800"/>
            <a:ext cx="4253068" cy="3429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5501485" y="1828800"/>
            <a:ext cx="4253068" cy="685801"/>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01485" y="2590800"/>
            <a:ext cx="4253068" cy="3429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3E0FA9E5-6744-4841-888F-9E7CC0C2B7EC}" type="datetimeFigureOut">
              <a:rPr lang="en-US"/>
              <a:t>9/3/20</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AAEAE4A8-A6E5-453E-B946-FB774B73F48C}" type="slidenum">
              <a:rPr/>
              <a:t>‹#›</a:t>
            </a:fld>
            <a:endParaRPr/>
          </a:p>
        </p:txBody>
      </p:sp>
      <p:sp>
        <p:nvSpPr>
          <p:cNvPr id="10" name="Title Placeholder 1">
            <a:extLst>
              <a:ext uri="{FF2B5EF4-FFF2-40B4-BE49-F238E27FC236}">
                <a16:creationId xmlns:a16="http://schemas.microsoft.com/office/drawing/2014/main" id="{83730BE5-A22D-44BF-A1B1-9BE8B2646953}"/>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40697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E0FA9E5-6744-4841-888F-9E7CC0C2B7EC}" type="datetimeFigureOut">
              <a:rPr lang="en-US"/>
              <a:t>9/3/20</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AAEAE4A8-A6E5-453E-B946-FB774B73F48C}" type="slidenum">
              <a:rPr/>
              <a:t>‹#›</a:t>
            </a:fld>
            <a:endParaRPr/>
          </a:p>
        </p:txBody>
      </p:sp>
      <p:sp>
        <p:nvSpPr>
          <p:cNvPr id="6" name="Title Placeholder 1">
            <a:extLst>
              <a:ext uri="{FF2B5EF4-FFF2-40B4-BE49-F238E27FC236}">
                <a16:creationId xmlns:a16="http://schemas.microsoft.com/office/drawing/2014/main" id="{B1B4C3B5-5464-473A-AC97-3C3976EB3325}"/>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99770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0FA9E5-6744-4841-888F-9E7CC0C2B7EC}" type="datetimeFigureOut">
              <a:rPr lang="en-US"/>
              <a:t>9/3/20</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339616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rmAutofit/>
          </a:bodyPr>
          <a:lstStyle>
            <a:lvl1pPr algn="l">
              <a:defRPr sz="3600" b="0">
                <a:solidFill>
                  <a:schemeClr val="accent1">
                    <a:lumMod val="50000"/>
                  </a:schemeClr>
                </a:solidFill>
              </a:defRPr>
            </a:lvl1pPr>
          </a:lstStyle>
          <a:p>
            <a:r>
              <a:rPr lang="en-US"/>
              <a:t>Click to edit Master title style</a:t>
            </a:r>
            <a:endParaRPr/>
          </a:p>
        </p:txBody>
      </p:sp>
      <p:sp>
        <p:nvSpPr>
          <p:cNvPr id="3" name="Content Placeholder 2"/>
          <p:cNvSpPr>
            <a:spLocks noGrp="1"/>
          </p:cNvSpPr>
          <p:nvPr>
            <p:ph idx="1"/>
          </p:nvPr>
        </p:nvSpPr>
        <p:spPr>
          <a:xfrm>
            <a:off x="5867341" y="533400"/>
            <a:ext cx="5868928" cy="5486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1065490" y="2209800"/>
            <a:ext cx="4115872" cy="3810000"/>
          </a:xfrm>
        </p:spPr>
        <p:txBody>
          <a:bodyPr>
            <a:normAutofit/>
          </a:bodyPr>
          <a:lstStyle>
            <a:lvl1pPr marL="0" indent="0">
              <a:lnSpc>
                <a:spcPct val="110000"/>
              </a:lnSpc>
              <a:spcBef>
                <a:spcPts val="600"/>
              </a:spcBef>
              <a:buNone/>
              <a:defRPr sz="1800">
                <a:solidFill>
                  <a:schemeClr val="tx1">
                    <a:lumMod val="65000"/>
                    <a:lumOff val="3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E0FA9E5-6744-4841-888F-9E7CC0C2B7EC}" type="datetimeFigureOut">
              <a:rPr lang="en-US"/>
              <a:t>9/3/20</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258725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Autofit/>
          </a:bodyPr>
          <a:lstStyle>
            <a:lvl1pPr algn="l">
              <a:defRPr sz="3600" b="0">
                <a:solidFill>
                  <a:schemeClr val="accent1">
                    <a:lumMod val="50000"/>
                  </a:schemeClr>
                </a:solidFill>
              </a:defRPr>
            </a:lvl1pPr>
          </a:lstStyle>
          <a:p>
            <a:r>
              <a:rPr lang="en-US"/>
              <a:t>Click to edit Master title style</a:t>
            </a:r>
            <a:endParaRPr/>
          </a:p>
        </p:txBody>
      </p:sp>
      <p:sp>
        <p:nvSpPr>
          <p:cNvPr id="3" name="Picture Placeholder 2"/>
          <p:cNvSpPr>
            <a:spLocks noGrp="1"/>
          </p:cNvSpPr>
          <p:nvPr>
            <p:ph type="pic" idx="1"/>
          </p:nvPr>
        </p:nvSpPr>
        <p:spPr>
          <a:xfrm>
            <a:off x="5867340" y="533400"/>
            <a:ext cx="5781679" cy="5486400"/>
          </a:xfrm>
          <a:ln w="12700">
            <a:solidFill>
              <a:schemeClr val="accent1">
                <a:lumMod val="50000"/>
              </a:schemeClr>
            </a:solidFill>
            <a:miter lim="800000"/>
          </a:ln>
        </p:spPr>
        <p:txBody>
          <a:bodyPr>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1065490" y="2209800"/>
            <a:ext cx="4115872" cy="3810000"/>
          </a:xfrm>
        </p:spPr>
        <p:txBody>
          <a:bodyPr>
            <a:normAutofit/>
          </a:bodyPr>
          <a:lstStyle>
            <a:lvl1pPr marL="0" indent="0">
              <a:lnSpc>
                <a:spcPct val="110000"/>
              </a:lnSpc>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38914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9/3/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
        <p:nvSpPr>
          <p:cNvPr id="7" name="Title Placeholder 1">
            <a:extLst>
              <a:ext uri="{FF2B5EF4-FFF2-40B4-BE49-F238E27FC236}">
                <a16:creationId xmlns:a16="http://schemas.microsoft.com/office/drawing/2014/main" id="{93E078C1-39F7-4988-A4A8-4EA71224D71B}"/>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328801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ags" Target="../tags/tag1.xml"/><Relationship Id="rId2" Type="http://schemas.openxmlformats.org/officeDocument/2006/relationships/slideLayout" Target="../slideLayouts/slideLayout12.xml"/><Relationship Id="rId16" Type="http://schemas.openxmlformats.org/officeDocument/2006/relationships/vmlDrawing" Target="../drawings/vmlDrawing1.vml"/><Relationship Id="rId20" Type="http://schemas.openxmlformats.org/officeDocument/2006/relationships/image" Target="../media/image4.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image" Target="../media/image3.emf"/><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4.vml"/><Relationship Id="rId18" Type="http://schemas.openxmlformats.org/officeDocument/2006/relationships/image" Target="../media/image12.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11.png"/><Relationship Id="rId2" Type="http://schemas.openxmlformats.org/officeDocument/2006/relationships/slideLayout" Target="../slideLayouts/slideLayout26.xml"/><Relationship Id="rId16" Type="http://schemas.openxmlformats.org/officeDocument/2006/relationships/image" Target="../media/image10.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4.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
        <p:nvSpPr>
          <p:cNvPr id="3" name="Text Placeholder 2"/>
          <p:cNvSpPr>
            <a:spLocks noGrp="1"/>
          </p:cNvSpPr>
          <p:nvPr>
            <p:ph type="body" idx="1"/>
          </p:nvPr>
        </p:nvSpPr>
        <p:spPr>
          <a:xfrm>
            <a:off x="982100" y="1462977"/>
            <a:ext cx="10083746" cy="455831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Date Placeholder 3"/>
          <p:cNvSpPr>
            <a:spLocks noGrp="1"/>
          </p:cNvSpPr>
          <p:nvPr>
            <p:ph type="dt" sz="half" idx="2"/>
          </p:nvPr>
        </p:nvSpPr>
        <p:spPr>
          <a:xfrm>
            <a:off x="8242772" y="6453337"/>
            <a:ext cx="1371957" cy="273049"/>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3E0FA9E5-6744-4841-888F-9E7CC0C2B7EC}" type="datetimeFigureOut">
              <a:rPr lang="en-US"/>
              <a:pPr/>
              <a:t>9/3/20</a:t>
            </a:fld>
            <a:endParaRPr/>
          </a:p>
        </p:txBody>
      </p:sp>
      <p:sp>
        <p:nvSpPr>
          <p:cNvPr id="5" name="Footer Placeholder 4"/>
          <p:cNvSpPr>
            <a:spLocks noGrp="1"/>
          </p:cNvSpPr>
          <p:nvPr>
            <p:ph type="ftr" sz="quarter" idx="3"/>
          </p:nvPr>
        </p:nvSpPr>
        <p:spPr>
          <a:xfrm>
            <a:off x="1051460" y="6453337"/>
            <a:ext cx="6973744" cy="273049"/>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endParaRPr/>
          </a:p>
        </p:txBody>
      </p:sp>
      <p:sp>
        <p:nvSpPr>
          <p:cNvPr id="6" name="Slide Number Placeholder 5"/>
          <p:cNvSpPr>
            <a:spLocks noGrp="1"/>
          </p:cNvSpPr>
          <p:nvPr>
            <p:ph type="sldNum" sz="quarter" idx="4"/>
          </p:nvPr>
        </p:nvSpPr>
        <p:spPr>
          <a:xfrm>
            <a:off x="9832297" y="6453337"/>
            <a:ext cx="1219519" cy="273049"/>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AAEAE4A8-A6E5-453E-B946-FB774B73F48C}" type="slidenum">
              <a:rPr/>
              <a:pPr/>
              <a:t>‹#›</a:t>
            </a:fld>
            <a:endParaRPr/>
          </a:p>
        </p:txBody>
      </p:sp>
      <p:pic>
        <p:nvPicPr>
          <p:cNvPr id="7" name="Picture 4"/>
          <p:cNvPicPr>
            <a:picLocks noChangeAspect="1" noChangeArrowheads="1"/>
          </p:cNvPicPr>
          <p:nvPr userDrawn="1"/>
        </p:nvPicPr>
        <p:blipFill>
          <a:blip r:embed="rId12" cstate="email">
            <a:clrChange>
              <a:clrFrom>
                <a:srgbClr val="FFFFFF"/>
              </a:clrFrom>
              <a:clrTo>
                <a:srgbClr val="FFFFFF">
                  <a:alpha val="0"/>
                </a:srgbClr>
              </a:clrTo>
            </a:clrChange>
            <a:lum contrast="18000"/>
            <a:extLst>
              <a:ext uri="{28A0092B-C50C-407E-A947-70E740481C1C}">
                <a14:useLocalDpi xmlns:a14="http://schemas.microsoft.com/office/drawing/2010/main"/>
              </a:ext>
            </a:extLst>
          </a:blip>
          <a:srcRect/>
          <a:stretch>
            <a:fillRect/>
          </a:stretch>
        </p:blipFill>
        <p:spPr bwMode="auto">
          <a:xfrm>
            <a:off x="-32516" y="104982"/>
            <a:ext cx="1711468" cy="381867"/>
          </a:xfrm>
          <a:prstGeom prst="rect">
            <a:avLst/>
          </a:prstGeom>
          <a:noFill/>
          <a:ln w="9525">
            <a:noFill/>
            <a:miter lim="800000"/>
            <a:headEnd/>
            <a:tailEnd/>
          </a:ln>
        </p:spPr>
      </p:pic>
      <p:cxnSp>
        <p:nvCxnSpPr>
          <p:cNvPr id="9" name="Straight Connector 8"/>
          <p:cNvCxnSpPr>
            <a:cxnSpLocks/>
          </p:cNvCxnSpPr>
          <p:nvPr userDrawn="1"/>
        </p:nvCxnSpPr>
        <p:spPr>
          <a:xfrm>
            <a:off x="1678953" y="295914"/>
            <a:ext cx="10179188" cy="0"/>
          </a:xfrm>
          <a:prstGeom prst="line">
            <a:avLst/>
          </a:prstGeom>
          <a:ln>
            <a:solidFill>
              <a:schemeClr val="accent1">
                <a:lumMod val="50000"/>
              </a:schemeClr>
            </a:solidFill>
          </a:ln>
        </p:spPr>
        <p:style>
          <a:lnRef idx="2">
            <a:schemeClr val="dk1"/>
          </a:lnRef>
          <a:fillRef idx="0">
            <a:schemeClr val="dk1"/>
          </a:fillRef>
          <a:effectRef idx="1">
            <a:schemeClr val="dk1"/>
          </a:effectRef>
          <a:fontRef idx="minor">
            <a:schemeClr val="tx1"/>
          </a:fontRef>
        </p:style>
      </p:cxnSp>
      <p:cxnSp>
        <p:nvCxnSpPr>
          <p:cNvPr id="12" name="Straight Connector 11"/>
          <p:cNvCxnSpPr>
            <a:cxnSpLocks/>
          </p:cNvCxnSpPr>
          <p:nvPr userDrawn="1"/>
        </p:nvCxnSpPr>
        <p:spPr>
          <a:xfrm>
            <a:off x="117779" y="6289049"/>
            <a:ext cx="11740361" cy="0"/>
          </a:xfrm>
          <a:prstGeom prst="line">
            <a:avLst/>
          </a:prstGeom>
          <a:ln>
            <a:solidFill>
              <a:schemeClr val="accent1">
                <a:lumMod val="50000"/>
              </a:schemeClr>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3536250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lnSpc>
          <a:spcPct val="80000"/>
        </a:lnSpc>
        <a:spcBef>
          <a:spcPct val="0"/>
        </a:spcBef>
        <a:buNone/>
        <a:defRPr sz="3200" b="0" kern="1200" spc="300">
          <a:solidFill>
            <a:schemeClr val="accent1">
              <a:lumMod val="50000"/>
            </a:schemeClr>
          </a:solidFill>
          <a:latin typeface="+mn-lt"/>
          <a:ea typeface="+mj-ea"/>
          <a:cs typeface="+mj-cs"/>
        </a:defRPr>
      </a:lvl1pPr>
    </p:titleStyle>
    <p:bodyStyle>
      <a:lvl1pPr marL="274320" indent="-228600" algn="l" defTabSz="914400" rtl="0" eaLnBrk="1" latinLnBrk="0" hangingPunct="1">
        <a:lnSpc>
          <a:spcPct val="90000"/>
        </a:lnSpc>
        <a:spcBef>
          <a:spcPts val="1800"/>
        </a:spcBef>
        <a:buClr>
          <a:schemeClr val="tx1">
            <a:lumMod val="65000"/>
            <a:lumOff val="35000"/>
          </a:schemeClr>
        </a:buClr>
        <a:buSzPct val="80000"/>
        <a:buFont typeface="Arial" pitchFamily="34" charset="0"/>
        <a:buChar char="•"/>
        <a:defRPr sz="2000" kern="1200">
          <a:solidFill>
            <a:schemeClr val="tx1">
              <a:lumMod val="65000"/>
              <a:lumOff val="35000"/>
            </a:schemeClr>
          </a:solidFill>
          <a:latin typeface="+mn-lt"/>
          <a:ea typeface="+mn-ea"/>
          <a:cs typeface="+mn-cs"/>
        </a:defRPr>
      </a:lvl1pPr>
      <a:lvl2pPr marL="594360" indent="-228600" algn="l" defTabSz="914400" rtl="0" eaLnBrk="1" latinLnBrk="0" hangingPunct="1">
        <a:lnSpc>
          <a:spcPct val="90000"/>
        </a:lnSpc>
        <a:spcBef>
          <a:spcPts val="1000"/>
        </a:spcBef>
        <a:buClr>
          <a:schemeClr val="tx1">
            <a:lumMod val="65000"/>
            <a:lumOff val="35000"/>
          </a:schemeClr>
        </a:buClr>
        <a:buSzPct val="80000"/>
        <a:buFont typeface="Arial" pitchFamily="34" charset="0"/>
        <a:buChar char="•"/>
        <a:defRPr sz="1800" kern="1200">
          <a:solidFill>
            <a:schemeClr val="tx1">
              <a:lumMod val="65000"/>
              <a:lumOff val="35000"/>
            </a:schemeClr>
          </a:solidFill>
          <a:latin typeface="+mn-lt"/>
          <a:ea typeface="+mn-ea"/>
          <a:cs typeface="+mn-cs"/>
        </a:defRPr>
      </a:lvl2pPr>
      <a:lvl3pPr marL="777240" indent="-18288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600" kern="1200">
          <a:solidFill>
            <a:schemeClr val="tx1">
              <a:lumMod val="65000"/>
              <a:lumOff val="3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400" kern="1200">
          <a:solidFill>
            <a:schemeClr val="tx1">
              <a:lumMod val="65000"/>
              <a:lumOff val="35000"/>
            </a:schemeClr>
          </a:solidFill>
          <a:latin typeface="+mn-lt"/>
          <a:ea typeface="+mn-ea"/>
          <a:cs typeface="+mn-cs"/>
        </a:defRPr>
      </a:lvl4pPr>
      <a:lvl5pPr marL="1097280" indent="-13716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400" kern="1200">
          <a:solidFill>
            <a:schemeClr val="tx1">
              <a:lumMod val="65000"/>
              <a:lumOff val="35000"/>
            </a:schemeClr>
          </a:solidFill>
          <a:latin typeface="+mn-lt"/>
          <a:ea typeface="+mn-ea"/>
          <a:cs typeface="+mn-cs"/>
        </a:defRPr>
      </a:lvl5pPr>
      <a:lvl6pPr marL="123444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6pPr>
      <a:lvl7pPr marL="137160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7pPr>
      <a:lvl8pPr marL="150876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8pPr>
      <a:lvl9pPr marL="164592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8AAD88-B79D-4147-8826-7C2D271E8F9D}"/>
              </a:ext>
            </a:extLst>
          </p:cNvPr>
          <p:cNvGraphicFramePr>
            <a:graphicFrameLocks noChangeAspect="1"/>
          </p:cNvGraphicFramePr>
          <p:nvPr userDrawn="1">
            <p:custDataLst>
              <p:tags r:id="rId17"/>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83" name="think-cell Slide" r:id="rId18" imgW="395" imgH="394" progId="TCLayout.ActiveDocument.1">
                  <p:embed/>
                </p:oleObj>
              </mc:Choice>
              <mc:Fallback>
                <p:oleObj name="think-cell Slide" r:id="rId18" imgW="395" imgH="394" progId="TCLayout.ActiveDocument.1">
                  <p:embed/>
                  <p:pic>
                    <p:nvPicPr>
                      <p:cNvPr id="4" name="Object 3" hidden="1">
                        <a:extLst>
                          <a:ext uri="{FF2B5EF4-FFF2-40B4-BE49-F238E27FC236}">
                            <a16:creationId xmlns:a16="http://schemas.microsoft.com/office/drawing/2014/main" id="{0F8AAD88-B79D-4147-8826-7C2D271E8F9D}"/>
                          </a:ext>
                        </a:extLst>
                      </p:cNvPr>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75141" y="1219201"/>
            <a:ext cx="11423161" cy="49577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187321" lvl="0" indent="-187321" fontAlgn="base">
              <a:spcBef>
                <a:spcPct val="100000"/>
              </a:spcBef>
              <a:spcAft>
                <a:spcPct val="0"/>
              </a:spcAft>
              <a:buSzPct val="90000"/>
            </a:pPr>
            <a:r>
              <a:rPr lang="en-US"/>
              <a:t>Edit Master text styles</a:t>
            </a:r>
          </a:p>
          <a:p>
            <a:pPr marL="187321" lvl="1" indent="-187321" fontAlgn="base">
              <a:spcBef>
                <a:spcPct val="100000"/>
              </a:spcBef>
              <a:spcAft>
                <a:spcPct val="0"/>
              </a:spcAft>
              <a:buSzPct val="90000"/>
            </a:pPr>
            <a:r>
              <a:rPr lang="en-US"/>
              <a:t>Second level</a:t>
            </a:r>
          </a:p>
          <a:p>
            <a:pPr marL="187321" lvl="2" indent="-187321" fontAlgn="base">
              <a:spcBef>
                <a:spcPct val="100000"/>
              </a:spcBef>
              <a:spcAft>
                <a:spcPct val="0"/>
              </a:spcAft>
              <a:buSzPct val="90000"/>
            </a:pPr>
            <a:r>
              <a:rPr lang="en-US"/>
              <a:t>Third level</a:t>
            </a:r>
          </a:p>
          <a:p>
            <a:pPr marL="187321" lvl="3" indent="-187321" fontAlgn="base">
              <a:spcBef>
                <a:spcPct val="100000"/>
              </a:spcBef>
              <a:spcAft>
                <a:spcPct val="0"/>
              </a:spcAft>
              <a:buSzPct val="90000"/>
            </a:pPr>
            <a:r>
              <a:rPr lang="en-US"/>
              <a:t>Fourth level</a:t>
            </a:r>
          </a:p>
          <a:p>
            <a:pPr marL="187321" lvl="4" indent="-187321" fontAlgn="base">
              <a:spcBef>
                <a:spcPct val="100000"/>
              </a:spcBef>
              <a:spcAft>
                <a:spcPct val="0"/>
              </a:spcAft>
              <a:buSzPct val="90000"/>
            </a:pPr>
            <a:r>
              <a:rPr lang="en-US"/>
              <a:t>Fifth level</a:t>
            </a:r>
            <a:endParaRPr lang="en-GB"/>
          </a:p>
        </p:txBody>
      </p:sp>
      <p:sp>
        <p:nvSpPr>
          <p:cNvPr id="7" name="Rectangle 6"/>
          <p:cNvSpPr/>
          <p:nvPr userDrawn="1"/>
        </p:nvSpPr>
        <p:spPr bwMode="auto">
          <a:xfrm>
            <a:off x="1" y="1"/>
            <a:ext cx="12192000" cy="977900"/>
          </a:xfrm>
          <a:prstGeom prst="rect">
            <a:avLst/>
          </a:prstGeom>
          <a:solidFill>
            <a:schemeClr val="accent1"/>
          </a:solidFill>
          <a:ln w="12700" cap="flat" cmpd="sng" algn="ctr">
            <a:noFill/>
            <a:prstDash val="solid"/>
            <a:round/>
            <a:headEnd type="none" w="med" len="med"/>
            <a:tailEnd type="none" w="med" len="med"/>
          </a:ln>
          <a:effectLst/>
        </p:spPr>
        <p:txBody>
          <a:bodyPr vert="horz" wrap="square" lIns="180000" tIns="46800" rIns="90000" bIns="46800" numCol="1" rtlCol="0" anchor="ctr" anchorCtr="0" compatLnSpc="1">
            <a:prstTxWarp prst="textNoShape">
              <a:avLst/>
            </a:prstTxWarp>
          </a:bodyPr>
          <a:lstStyle/>
          <a:p>
            <a:pPr algn="l"/>
            <a:endParaRPr lang="en-GB" sz="1600">
              <a:solidFill>
                <a:schemeClr val="bg2"/>
              </a:solidFill>
            </a:endParaRPr>
          </a:p>
        </p:txBody>
      </p:sp>
      <p:sp>
        <p:nvSpPr>
          <p:cNvPr id="8" name="Freeform 7"/>
          <p:cNvSpPr/>
          <p:nvPr userDrawn="1"/>
        </p:nvSpPr>
        <p:spPr bwMode="auto">
          <a:xfrm flipH="1">
            <a:off x="11366500" y="1"/>
            <a:ext cx="825499" cy="977900"/>
          </a:xfrm>
          <a:custGeom>
            <a:avLst/>
            <a:gdLst>
              <a:gd name="connsiteX0" fmla="*/ 0 w 289082"/>
              <a:gd name="connsiteY0" fmla="*/ 0 h 825950"/>
              <a:gd name="connsiteX1" fmla="*/ 0 w 289082"/>
              <a:gd name="connsiteY1" fmla="*/ 825950 h 825950"/>
              <a:gd name="connsiteX2" fmla="*/ 289082 w 289082"/>
              <a:gd name="connsiteY2" fmla="*/ 825950 h 825950"/>
              <a:gd name="connsiteX3" fmla="*/ 0 w 289082"/>
              <a:gd name="connsiteY3" fmla="*/ 0 h 825950"/>
            </a:gdLst>
            <a:ahLst/>
            <a:cxnLst>
              <a:cxn ang="0">
                <a:pos x="connsiteX0" y="connsiteY0"/>
              </a:cxn>
              <a:cxn ang="0">
                <a:pos x="connsiteX1" y="connsiteY1"/>
              </a:cxn>
              <a:cxn ang="0">
                <a:pos x="connsiteX2" y="connsiteY2"/>
              </a:cxn>
              <a:cxn ang="0">
                <a:pos x="connsiteX3" y="connsiteY3"/>
              </a:cxn>
            </a:cxnLst>
            <a:rect l="l" t="t" r="r" b="b"/>
            <a:pathLst>
              <a:path w="289082" h="825950">
                <a:moveTo>
                  <a:pt x="0" y="0"/>
                </a:moveTo>
                <a:lnTo>
                  <a:pt x="0" y="825950"/>
                </a:lnTo>
                <a:lnTo>
                  <a:pt x="289082" y="825950"/>
                </a:lnTo>
                <a:lnTo>
                  <a:pt x="0" y="0"/>
                </a:lnTo>
                <a:close/>
              </a:path>
            </a:pathLst>
          </a:custGeom>
          <a:solidFill>
            <a:schemeClr val="accent1">
              <a:lumMod val="9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9" name="Rectangle 8"/>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
        <p:nvSpPr>
          <p:cNvPr id="2" name="Title Placeholder 1"/>
          <p:cNvSpPr>
            <a:spLocks noGrp="1"/>
          </p:cNvSpPr>
          <p:nvPr>
            <p:ph type="title"/>
          </p:nvPr>
        </p:nvSpPr>
        <p:spPr>
          <a:xfrm>
            <a:off x="375141" y="186166"/>
            <a:ext cx="10889343" cy="296863"/>
          </a:xfrm>
          <a:prstGeom prst="rect">
            <a:avLst/>
          </a:prstGeom>
          <a:noFill/>
          <a:ln w="12700" algn="ctr">
            <a:noFill/>
            <a:miter lim="800000"/>
            <a:headEnd/>
            <a:tailEnd/>
          </a:ln>
          <a:effectLst/>
        </p:spPr>
        <p:txBody>
          <a:bodyPr vert="horz" wrap="square" lIns="0" tIns="38100" rIns="0" bIns="38100" numCol="1" anchor="t" anchorCtr="0" compatLnSpc="1">
            <a:prstTxWarp prst="textNoShape">
              <a:avLst/>
            </a:prstTxWarp>
            <a:noAutofit/>
          </a:bodyPr>
          <a:lstStyle/>
          <a:p>
            <a:pPr lvl="0" fontAlgn="auto">
              <a:spcAft>
                <a:spcPts val="0"/>
              </a:spcAft>
              <a:buSzTx/>
            </a:pPr>
            <a:r>
              <a:rPr lang="en-GB"/>
              <a:t>Slide Title 2</a:t>
            </a:r>
          </a:p>
        </p:txBody>
      </p:sp>
      <p:pic>
        <p:nvPicPr>
          <p:cNvPr id="11" name="Picture 10"/>
          <p:cNvPicPr>
            <a:picLocks noChangeAspect="1"/>
          </p:cNvPicPr>
          <p:nvPr userDrawn="1"/>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225787486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Lst>
  <p:txStyles>
    <p:titleStyle>
      <a:lvl1pPr algn="l" defTabSz="914377" rtl="0" eaLnBrk="1" latinLnBrk="0" hangingPunct="1">
        <a:lnSpc>
          <a:spcPct val="90000"/>
        </a:lnSpc>
        <a:spcBef>
          <a:spcPct val="0"/>
        </a:spcBef>
        <a:buNone/>
        <a:defRPr lang="en-GB" sz="1400" b="0" kern="0"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594" indent="-228594" algn="l" defTabSz="914377" rtl="0" eaLnBrk="1" latinLnBrk="0" hangingPunct="1">
        <a:lnSpc>
          <a:spcPct val="90000"/>
        </a:lnSpc>
        <a:spcBef>
          <a:spcPts val="1000"/>
        </a:spcBef>
        <a:buSzPct val="112000"/>
        <a:buFont typeface="Arial" panose="020B0604020202020204" pitchFamily="34" charset="0"/>
        <a:buChar char="•"/>
        <a:defRPr lang="en-US" sz="16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lang="en-US" sz="16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lang="en-US" sz="14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lang="en-US" sz="14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lang="en-GB" sz="1400" kern="1200">
          <a:solidFill>
            <a:srgbClr val="000000"/>
          </a:solidFill>
          <a:latin typeface="Verdana" panose="020B0604030504040204" pitchFamily="34" charset="0"/>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4"/>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323" name="Diapositiva de think-cell" r:id="rId15" imgW="336" imgH="336" progId="TCLayout.ActiveDocument.1">
                  <p:embed/>
                </p:oleObj>
              </mc:Choice>
              <mc:Fallback>
                <p:oleObj name="Diapositiva de think-cell" r:id="rId15" imgW="336" imgH="336" progId="TCLayout.ActiveDocument.1">
                  <p:embed/>
                  <p:pic>
                    <p:nvPicPr>
                      <p:cNvPr id="3" name="Objeto 2" hidden="1"/>
                      <p:cNvPicPr/>
                      <p:nvPr/>
                    </p:nvPicPr>
                    <p:blipFill>
                      <a:blip r:embed="rId16"/>
                      <a:stretch>
                        <a:fillRect/>
                      </a:stretch>
                    </p:blipFill>
                    <p:spPr>
                      <a:xfrm>
                        <a:off x="1590" y="1591"/>
                        <a:ext cx="1587" cy="1587"/>
                      </a:xfrm>
                      <a:prstGeom prst="rect">
                        <a:avLst/>
                      </a:prstGeom>
                    </p:spPr>
                  </p:pic>
                </p:oleObj>
              </mc:Fallback>
            </mc:AlternateContent>
          </a:graphicData>
        </a:graphic>
      </p:graphicFrame>
      <p:sp>
        <p:nvSpPr>
          <p:cNvPr id="2" name="TextBox 1"/>
          <p:cNvSpPr txBox="1"/>
          <p:nvPr/>
        </p:nvSpPr>
        <p:spPr bwMode="auto">
          <a:xfrm>
            <a:off x="1274920" y="1537517"/>
            <a:ext cx="155884" cy="31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7156" tIns="38578" rIns="77156" bIns="38578" rtlCol="0">
            <a:spAutoFit/>
          </a:bodyPr>
          <a:lstStyle/>
          <a:p>
            <a:pPr defTabSz="578687" fontAlgn="base">
              <a:spcBef>
                <a:spcPct val="0"/>
              </a:spcBef>
              <a:spcAft>
                <a:spcPct val="0"/>
              </a:spcAft>
            </a:pPr>
            <a:endParaRPr lang="en-GB" sz="1518" b="0" i="0" dirty="0" err="1">
              <a:solidFill>
                <a:srgbClr val="FFFFFF"/>
              </a:solidFill>
              <a:latin typeface="Arial" charset="0"/>
              <a:ea typeface="ヒラギノ角ゴ ProN W3" charset="-128"/>
              <a:cs typeface="Arial" charset="0"/>
              <a:sym typeface="Gill Sans" charset="0"/>
            </a:endParaRPr>
          </a:p>
        </p:txBody>
      </p:sp>
      <p:sp>
        <p:nvSpPr>
          <p:cNvPr id="4"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bg1"/>
                </a:solidFill>
                <a:latin typeface="Arial" charset="0"/>
                <a:ea typeface="Arial" charset="0"/>
                <a:cs typeface="Arial" charset="0"/>
                <a:sym typeface="Arial" pitchFamily="34" charset="0"/>
              </a:rPr>
              <a:pPr eaLnBrk="1" hangingPunct="1">
                <a:defRPr/>
              </a:pPr>
              <a:t>‹#›</a:t>
            </a:fld>
            <a:endParaRPr lang="en-GB" altLang="es-ES" sz="696" b="0" i="0" dirty="0">
              <a:solidFill>
                <a:schemeClr val="bg1"/>
              </a:solidFill>
              <a:latin typeface="Arial" charset="0"/>
              <a:ea typeface="Arial" charset="0"/>
              <a:cs typeface="Arial" charset="0"/>
              <a:sym typeface="Arial" pitchFamily="34" charset="0"/>
            </a:endParaRPr>
          </a:p>
        </p:txBody>
      </p:sp>
      <p:pic>
        <p:nvPicPr>
          <p:cNvPr id="7" name="Imagen 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00502" y="6217954"/>
            <a:ext cx="996092" cy="475200"/>
          </a:xfrm>
          <a:prstGeom prst="rect">
            <a:avLst/>
          </a:prstGeom>
        </p:spPr>
      </p:pic>
      <p:sp>
        <p:nvSpPr>
          <p:cNvPr id="6" name="TextBox 1">
            <a:extLst>
              <a:ext uri="{FF2B5EF4-FFF2-40B4-BE49-F238E27FC236}">
                <a16:creationId xmlns:a16="http://schemas.microsoft.com/office/drawing/2014/main" id="{0D16C0B1-D2DE-EE47-A1FB-FAFE7137EC9E}"/>
              </a:ext>
            </a:extLst>
          </p:cNvPr>
          <p:cNvSpPr txBox="1"/>
          <p:nvPr userDrawn="1"/>
        </p:nvSpPr>
        <p:spPr bwMode="auto">
          <a:xfrm>
            <a:off x="1274918" y="1537517"/>
            <a:ext cx="207824" cy="41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875" tIns="51437" rIns="102875" bIns="51437" rtlCol="0">
            <a:spAutoFit/>
          </a:bodyPr>
          <a:lstStyle/>
          <a:p>
            <a:pPr defTabSz="771583" fontAlgn="base">
              <a:spcBef>
                <a:spcPct val="0"/>
              </a:spcBef>
              <a:spcAft>
                <a:spcPct val="0"/>
              </a:spcAft>
            </a:pPr>
            <a:endParaRPr lang="en-GB" sz="2025" b="0" i="0" dirty="0" err="1">
              <a:solidFill>
                <a:srgbClr val="FFFFFF"/>
              </a:solidFill>
              <a:latin typeface="Arial" charset="0"/>
              <a:ea typeface="ヒラギノ角ゴ ProN W3" charset="-128"/>
              <a:cs typeface="Arial" charset="0"/>
              <a:sym typeface="Gill Sans" charset="0"/>
            </a:endParaRPr>
          </a:p>
        </p:txBody>
      </p:sp>
      <p:sp>
        <p:nvSpPr>
          <p:cNvPr id="8" name="Rectangle 3">
            <a:extLst>
              <a:ext uri="{FF2B5EF4-FFF2-40B4-BE49-F238E27FC236}">
                <a16:creationId xmlns:a16="http://schemas.microsoft.com/office/drawing/2014/main" id="{82EA72B7-E4B8-8B40-AE0F-C6FD4F955E4E}"/>
              </a:ext>
            </a:extLst>
          </p:cNvPr>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bg1"/>
                </a:solidFill>
                <a:latin typeface="Arial" charset="0"/>
                <a:ea typeface="Arial" charset="0"/>
                <a:cs typeface="Arial" charset="0"/>
                <a:sym typeface="Arial" pitchFamily="34" charset="0"/>
              </a:rPr>
              <a:pPr eaLnBrk="1" hangingPunct="1">
                <a:defRPr/>
              </a:pPr>
              <a:t>‹#›</a:t>
            </a:fld>
            <a:endParaRPr lang="en-GB" altLang="es-ES" sz="928" b="0" i="0" dirty="0">
              <a:solidFill>
                <a:schemeClr val="bg1"/>
              </a:solidFill>
              <a:latin typeface="Arial" charset="0"/>
              <a:ea typeface="Arial" charset="0"/>
              <a:cs typeface="Arial" charset="0"/>
              <a:sym typeface="Arial" pitchFamily="34" charset="0"/>
            </a:endParaRPr>
          </a:p>
        </p:txBody>
      </p:sp>
      <p:pic>
        <p:nvPicPr>
          <p:cNvPr id="9" name="Imagen 8">
            <a:extLst>
              <a:ext uri="{FF2B5EF4-FFF2-40B4-BE49-F238E27FC236}">
                <a16:creationId xmlns:a16="http://schemas.microsoft.com/office/drawing/2014/main" id="{530B9FB8-8073-B949-8EE7-2765ED32E601}"/>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400500" y="6217954"/>
            <a:ext cx="996092" cy="475200"/>
          </a:xfrm>
          <a:prstGeom prst="rect">
            <a:avLst/>
          </a:prstGeom>
        </p:spPr>
      </p:pic>
    </p:spTree>
    <p:extLst>
      <p:ext uri="{BB962C8B-B14F-4D97-AF65-F5344CB8AC3E}">
        <p14:creationId xmlns:p14="http://schemas.microsoft.com/office/powerpoint/2010/main" val="352925823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dt="0"/>
  <p:txStyles>
    <p:titleStyle>
      <a:lvl1pPr algn="ctr" rtl="0" eaLnBrk="1" fontAlgn="base" hangingPunct="1">
        <a:spcBef>
          <a:spcPct val="0"/>
        </a:spcBef>
        <a:spcAft>
          <a:spcPct val="0"/>
        </a:spcAft>
        <a:defRPr sz="3734" kern="1200">
          <a:solidFill>
            <a:schemeClr val="tx1"/>
          </a:solidFill>
          <a:latin typeface="+mj-lt"/>
          <a:ea typeface="+mj-ea"/>
          <a:cs typeface="+mj-cs"/>
        </a:defRPr>
      </a:lvl1pPr>
      <a:lvl2pPr algn="ctr" rtl="0" eaLnBrk="1" fontAlgn="base" hangingPunct="1">
        <a:spcBef>
          <a:spcPct val="0"/>
        </a:spcBef>
        <a:spcAft>
          <a:spcPct val="0"/>
        </a:spcAft>
        <a:defRPr sz="3734">
          <a:solidFill>
            <a:schemeClr val="tx1"/>
          </a:solidFill>
          <a:latin typeface="Calibri" pitchFamily="34" charset="0"/>
        </a:defRPr>
      </a:lvl2pPr>
      <a:lvl3pPr algn="ctr" rtl="0" eaLnBrk="1" fontAlgn="base" hangingPunct="1">
        <a:spcBef>
          <a:spcPct val="0"/>
        </a:spcBef>
        <a:spcAft>
          <a:spcPct val="0"/>
        </a:spcAft>
        <a:defRPr sz="3734">
          <a:solidFill>
            <a:schemeClr val="tx1"/>
          </a:solidFill>
          <a:latin typeface="Calibri" pitchFamily="34" charset="0"/>
        </a:defRPr>
      </a:lvl3pPr>
      <a:lvl4pPr algn="ctr" rtl="0" eaLnBrk="1" fontAlgn="base" hangingPunct="1">
        <a:spcBef>
          <a:spcPct val="0"/>
        </a:spcBef>
        <a:spcAft>
          <a:spcPct val="0"/>
        </a:spcAft>
        <a:defRPr sz="3734">
          <a:solidFill>
            <a:schemeClr val="tx1"/>
          </a:solidFill>
          <a:latin typeface="Calibri" pitchFamily="34" charset="0"/>
        </a:defRPr>
      </a:lvl4pPr>
      <a:lvl5pPr algn="ctr" rtl="0" eaLnBrk="1" fontAlgn="base" hangingPunct="1">
        <a:spcBef>
          <a:spcPct val="0"/>
        </a:spcBef>
        <a:spcAft>
          <a:spcPct val="0"/>
        </a:spcAft>
        <a:defRPr sz="3734">
          <a:solidFill>
            <a:schemeClr val="tx1"/>
          </a:solidFill>
          <a:latin typeface="Calibri" pitchFamily="34" charset="0"/>
        </a:defRPr>
      </a:lvl5pPr>
      <a:lvl6pPr marL="385782" algn="ctr" rtl="0" eaLnBrk="1" fontAlgn="base" hangingPunct="1">
        <a:spcBef>
          <a:spcPct val="0"/>
        </a:spcBef>
        <a:spcAft>
          <a:spcPct val="0"/>
        </a:spcAft>
        <a:defRPr sz="3734">
          <a:solidFill>
            <a:schemeClr val="tx1"/>
          </a:solidFill>
          <a:latin typeface="Calibri" pitchFamily="34" charset="0"/>
        </a:defRPr>
      </a:lvl6pPr>
      <a:lvl7pPr marL="771564" algn="ctr" rtl="0" eaLnBrk="1" fontAlgn="base" hangingPunct="1">
        <a:spcBef>
          <a:spcPct val="0"/>
        </a:spcBef>
        <a:spcAft>
          <a:spcPct val="0"/>
        </a:spcAft>
        <a:defRPr sz="3734">
          <a:solidFill>
            <a:schemeClr val="tx1"/>
          </a:solidFill>
          <a:latin typeface="Calibri" pitchFamily="34" charset="0"/>
        </a:defRPr>
      </a:lvl7pPr>
      <a:lvl8pPr marL="1157345" algn="ctr" rtl="0" eaLnBrk="1" fontAlgn="base" hangingPunct="1">
        <a:spcBef>
          <a:spcPct val="0"/>
        </a:spcBef>
        <a:spcAft>
          <a:spcPct val="0"/>
        </a:spcAft>
        <a:defRPr sz="3734">
          <a:solidFill>
            <a:schemeClr val="tx1"/>
          </a:solidFill>
          <a:latin typeface="Calibri" pitchFamily="34" charset="0"/>
        </a:defRPr>
      </a:lvl8pPr>
      <a:lvl9pPr marL="1543126" algn="ctr" rtl="0" eaLnBrk="1" fontAlgn="base" hangingPunct="1">
        <a:spcBef>
          <a:spcPct val="0"/>
        </a:spcBef>
        <a:spcAft>
          <a:spcPct val="0"/>
        </a:spcAft>
        <a:defRPr sz="3734">
          <a:solidFill>
            <a:schemeClr val="tx1"/>
          </a:solidFill>
          <a:latin typeface="Calibri" pitchFamily="34" charset="0"/>
        </a:defRPr>
      </a:lvl9pPr>
    </p:titleStyle>
    <p:bodyStyle>
      <a:lvl1pPr marL="289337" indent="-289337" algn="l" rtl="0" eaLnBrk="1" fontAlgn="base" hangingPunct="1">
        <a:spcBef>
          <a:spcPct val="20000"/>
        </a:spcBef>
        <a:spcAft>
          <a:spcPct val="0"/>
        </a:spcAft>
        <a:buFont typeface="Arial" pitchFamily="34" charset="0"/>
        <a:buChar char="•"/>
        <a:defRPr sz="2722" kern="1200">
          <a:solidFill>
            <a:schemeClr val="tx1"/>
          </a:solidFill>
          <a:latin typeface="+mn-lt"/>
          <a:ea typeface="+mn-ea"/>
          <a:cs typeface="+mn-cs"/>
        </a:defRPr>
      </a:lvl1pPr>
      <a:lvl2pPr marL="626895" indent="-241114" algn="l" rtl="0" eaLnBrk="1" fontAlgn="base" hangingPunct="1">
        <a:spcBef>
          <a:spcPct val="20000"/>
        </a:spcBef>
        <a:spcAft>
          <a:spcPct val="0"/>
        </a:spcAft>
        <a:buFont typeface="Arial" pitchFamily="34" charset="0"/>
        <a:buChar char="–"/>
        <a:defRPr sz="2341" kern="1200">
          <a:solidFill>
            <a:schemeClr val="tx1"/>
          </a:solidFill>
          <a:latin typeface="+mn-lt"/>
          <a:ea typeface="+mn-ea"/>
          <a:cs typeface="+mn-cs"/>
        </a:defRPr>
      </a:lvl2pPr>
      <a:lvl3pPr marL="964455" indent="-192891" algn="l" rtl="0" eaLnBrk="1" fontAlgn="base" hangingPunct="1">
        <a:spcBef>
          <a:spcPct val="20000"/>
        </a:spcBef>
        <a:spcAft>
          <a:spcPct val="0"/>
        </a:spcAft>
        <a:buFont typeface="Arial" pitchFamily="34" charset="0"/>
        <a:buChar char="•"/>
        <a:defRPr sz="2025" kern="1200">
          <a:solidFill>
            <a:schemeClr val="tx1"/>
          </a:solidFill>
          <a:latin typeface="+mn-lt"/>
          <a:ea typeface="+mn-ea"/>
          <a:cs typeface="+mn-cs"/>
        </a:defRPr>
      </a:lvl3pPr>
      <a:lvl4pPr marL="1350236" indent="-192891" algn="l" rtl="0" eaLnBrk="1" fontAlgn="base" hangingPunct="1">
        <a:spcBef>
          <a:spcPct val="20000"/>
        </a:spcBef>
        <a:spcAft>
          <a:spcPct val="0"/>
        </a:spcAft>
        <a:buFont typeface="Arial" pitchFamily="34" charset="0"/>
        <a:buChar char="–"/>
        <a:defRPr sz="1709" kern="1200">
          <a:solidFill>
            <a:schemeClr val="tx1"/>
          </a:solidFill>
          <a:latin typeface="+mn-lt"/>
          <a:ea typeface="+mn-ea"/>
          <a:cs typeface="+mn-cs"/>
        </a:defRPr>
      </a:lvl4pPr>
      <a:lvl5pPr marL="1736017" indent="-192891" algn="l" rtl="0" eaLnBrk="1" fontAlgn="base" hangingPunct="1">
        <a:spcBef>
          <a:spcPct val="20000"/>
        </a:spcBef>
        <a:spcAft>
          <a:spcPct val="0"/>
        </a:spcAft>
        <a:buFont typeface="Arial" pitchFamily="34" charset="0"/>
        <a:buChar char="»"/>
        <a:defRPr sz="1709" kern="1200">
          <a:solidFill>
            <a:schemeClr val="tx1"/>
          </a:solidFill>
          <a:latin typeface="+mn-lt"/>
          <a:ea typeface="+mn-ea"/>
          <a:cs typeface="+mn-cs"/>
        </a:defRPr>
      </a:lvl5pPr>
      <a:lvl6pPr marL="2121799"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6pPr>
      <a:lvl7pPr marL="2507581"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7pPr>
      <a:lvl8pPr marL="2893363"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8pPr>
      <a:lvl9pPr marL="3279145"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9pPr>
    </p:bodyStyle>
    <p:otherStyle>
      <a:defPPr>
        <a:defRPr lang="es-ES"/>
      </a:defPPr>
      <a:lvl1pPr marL="0" algn="l" defTabSz="771564" rtl="0" eaLnBrk="1" latinLnBrk="0" hangingPunct="1">
        <a:defRPr sz="1518" kern="1200">
          <a:solidFill>
            <a:schemeClr val="tx1"/>
          </a:solidFill>
          <a:latin typeface="+mn-lt"/>
          <a:ea typeface="+mn-ea"/>
          <a:cs typeface="+mn-cs"/>
        </a:defRPr>
      </a:lvl1pPr>
      <a:lvl2pPr marL="385782" algn="l" defTabSz="771564" rtl="0" eaLnBrk="1" latinLnBrk="0" hangingPunct="1">
        <a:defRPr sz="1518" kern="1200">
          <a:solidFill>
            <a:schemeClr val="tx1"/>
          </a:solidFill>
          <a:latin typeface="+mn-lt"/>
          <a:ea typeface="+mn-ea"/>
          <a:cs typeface="+mn-cs"/>
        </a:defRPr>
      </a:lvl2pPr>
      <a:lvl3pPr marL="771564" algn="l" defTabSz="771564" rtl="0" eaLnBrk="1" latinLnBrk="0" hangingPunct="1">
        <a:defRPr sz="1518" kern="1200">
          <a:solidFill>
            <a:schemeClr val="tx1"/>
          </a:solidFill>
          <a:latin typeface="+mn-lt"/>
          <a:ea typeface="+mn-ea"/>
          <a:cs typeface="+mn-cs"/>
        </a:defRPr>
      </a:lvl3pPr>
      <a:lvl4pPr marL="1157345" algn="l" defTabSz="771564" rtl="0" eaLnBrk="1" latinLnBrk="0" hangingPunct="1">
        <a:defRPr sz="1518" kern="1200">
          <a:solidFill>
            <a:schemeClr val="tx1"/>
          </a:solidFill>
          <a:latin typeface="+mn-lt"/>
          <a:ea typeface="+mn-ea"/>
          <a:cs typeface="+mn-cs"/>
        </a:defRPr>
      </a:lvl4pPr>
      <a:lvl5pPr marL="1543126" algn="l" defTabSz="771564" rtl="0" eaLnBrk="1" latinLnBrk="0" hangingPunct="1">
        <a:defRPr sz="1518" kern="1200">
          <a:solidFill>
            <a:schemeClr val="tx1"/>
          </a:solidFill>
          <a:latin typeface="+mn-lt"/>
          <a:ea typeface="+mn-ea"/>
          <a:cs typeface="+mn-cs"/>
        </a:defRPr>
      </a:lvl5pPr>
      <a:lvl6pPr marL="1928908" algn="l" defTabSz="771564" rtl="0" eaLnBrk="1" latinLnBrk="0" hangingPunct="1">
        <a:defRPr sz="1518" kern="1200">
          <a:solidFill>
            <a:schemeClr val="tx1"/>
          </a:solidFill>
          <a:latin typeface="+mn-lt"/>
          <a:ea typeface="+mn-ea"/>
          <a:cs typeface="+mn-cs"/>
        </a:defRPr>
      </a:lvl6pPr>
      <a:lvl7pPr marL="2314690" algn="l" defTabSz="771564" rtl="0" eaLnBrk="1" latinLnBrk="0" hangingPunct="1">
        <a:defRPr sz="1518" kern="1200">
          <a:solidFill>
            <a:schemeClr val="tx1"/>
          </a:solidFill>
          <a:latin typeface="+mn-lt"/>
          <a:ea typeface="+mn-ea"/>
          <a:cs typeface="+mn-cs"/>
        </a:defRPr>
      </a:lvl7pPr>
      <a:lvl8pPr marL="2700471" algn="l" defTabSz="771564" rtl="0" eaLnBrk="1" latinLnBrk="0" hangingPunct="1">
        <a:defRPr sz="1518" kern="1200">
          <a:solidFill>
            <a:schemeClr val="tx1"/>
          </a:solidFill>
          <a:latin typeface="+mn-lt"/>
          <a:ea typeface="+mn-ea"/>
          <a:cs typeface="+mn-cs"/>
        </a:defRPr>
      </a:lvl8pPr>
      <a:lvl9pPr marL="3086253" algn="l" defTabSz="771564" rtl="0" eaLnBrk="1" latinLnBrk="0" hangingPunct="1">
        <a:defRPr sz="15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orient="horz" pos="640">
          <p15:clr>
            <a:srgbClr val="F26B43"/>
          </p15:clr>
        </p15:guide>
        <p15:guide id="3" pos="2880">
          <p15:clr>
            <a:srgbClr val="F26B43"/>
          </p15:clr>
        </p15:guide>
        <p15:guide id="4" pos="74">
          <p15:clr>
            <a:srgbClr val="F26B43"/>
          </p15:clr>
        </p15:guide>
        <p15:guide id="5" pos="5687">
          <p15:clr>
            <a:srgbClr val="F26B43"/>
          </p15:clr>
        </p15:guide>
        <p15:guide id="6" orient="horz" pos="231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739FA0-5A2E-400F-B087-926C753EB7F4}"/>
              </a:ext>
            </a:extLst>
          </p:cNvPr>
          <p:cNvSpPr>
            <a:spLocks noGrp="1"/>
          </p:cNvSpPr>
          <p:nvPr>
            <p:ph type="title"/>
          </p:nvPr>
        </p:nvSpPr>
        <p:spPr/>
        <p:txBody>
          <a:bodyPr/>
          <a:lstStyle/>
          <a:p>
            <a:r>
              <a:rPr lang="en-US" dirty="0"/>
              <a:t>Figure 1. Module Framework</a:t>
            </a:r>
          </a:p>
        </p:txBody>
      </p:sp>
      <p:grpSp>
        <p:nvGrpSpPr>
          <p:cNvPr id="6" name="Group 5">
            <a:extLst>
              <a:ext uri="{FF2B5EF4-FFF2-40B4-BE49-F238E27FC236}">
                <a16:creationId xmlns:a16="http://schemas.microsoft.com/office/drawing/2014/main" id="{AB273845-4F6A-AE42-A7A6-5D4464354E3E}"/>
              </a:ext>
            </a:extLst>
          </p:cNvPr>
          <p:cNvGrpSpPr/>
          <p:nvPr/>
        </p:nvGrpSpPr>
        <p:grpSpPr>
          <a:xfrm>
            <a:off x="418429" y="1049193"/>
            <a:ext cx="11367699" cy="5042915"/>
            <a:chOff x="418429" y="1049193"/>
            <a:chExt cx="11367699" cy="5042915"/>
          </a:xfrm>
        </p:grpSpPr>
        <p:sp>
          <p:nvSpPr>
            <p:cNvPr id="34" name="Rectangle: Rounded Corners 4">
              <a:extLst>
                <a:ext uri="{FF2B5EF4-FFF2-40B4-BE49-F238E27FC236}">
                  <a16:creationId xmlns:a16="http://schemas.microsoft.com/office/drawing/2014/main" id="{ECF62428-2D28-6241-8259-8670B7F2BBC1}"/>
                </a:ext>
              </a:extLst>
            </p:cNvPr>
            <p:cNvSpPr/>
            <p:nvPr/>
          </p:nvSpPr>
          <p:spPr>
            <a:xfrm>
              <a:off x="583197" y="3153483"/>
              <a:ext cx="11202931" cy="432000"/>
            </a:xfrm>
            <a:prstGeom prst="roundRect">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Supply Chain Management</a:t>
              </a:r>
            </a:p>
          </p:txBody>
        </p:sp>
        <p:sp>
          <p:nvSpPr>
            <p:cNvPr id="35" name="Freeform: Shape 24">
              <a:extLst>
                <a:ext uri="{FF2B5EF4-FFF2-40B4-BE49-F238E27FC236}">
                  <a16:creationId xmlns:a16="http://schemas.microsoft.com/office/drawing/2014/main" id="{349BCFD5-4A16-BE4A-AC7D-67EA8F8027FF}"/>
                </a:ext>
              </a:extLst>
            </p:cNvPr>
            <p:cNvSpPr/>
            <p:nvPr/>
          </p:nvSpPr>
          <p:spPr>
            <a:xfrm>
              <a:off x="2324934" y="2918644"/>
              <a:ext cx="7219665" cy="866992"/>
            </a:xfrm>
            <a:custGeom>
              <a:avLst/>
              <a:gdLst>
                <a:gd name="connsiteX0" fmla="*/ 0 w 6482686"/>
                <a:gd name="connsiteY0" fmla="*/ 0 h 887104"/>
                <a:gd name="connsiteX1" fmla="*/ 914400 w 6482686"/>
                <a:gd name="connsiteY1" fmla="*/ 873456 h 887104"/>
                <a:gd name="connsiteX2" fmla="*/ 6482686 w 6482686"/>
                <a:gd name="connsiteY2" fmla="*/ 887104 h 887104"/>
                <a:gd name="connsiteX3" fmla="*/ 1801504 w 6482686"/>
                <a:gd name="connsiteY3" fmla="*/ 81886 h 887104"/>
                <a:gd name="connsiteX4" fmla="*/ 0 w 6482686"/>
                <a:gd name="connsiteY4" fmla="*/ 0 h 887104"/>
                <a:gd name="connsiteX0" fmla="*/ 0 w 8952931"/>
                <a:gd name="connsiteY0" fmla="*/ 0 h 900752"/>
                <a:gd name="connsiteX1" fmla="*/ 914400 w 8952931"/>
                <a:gd name="connsiteY1" fmla="*/ 873456 h 900752"/>
                <a:gd name="connsiteX2" fmla="*/ 8952931 w 8952931"/>
                <a:gd name="connsiteY2" fmla="*/ 900752 h 900752"/>
                <a:gd name="connsiteX3" fmla="*/ 1801504 w 8952931"/>
                <a:gd name="connsiteY3" fmla="*/ 81886 h 900752"/>
                <a:gd name="connsiteX4" fmla="*/ 0 w 8952931"/>
                <a:gd name="connsiteY4" fmla="*/ 0 h 900752"/>
                <a:gd name="connsiteX0" fmla="*/ 0 w 8952931"/>
                <a:gd name="connsiteY0" fmla="*/ 0 h 900752"/>
                <a:gd name="connsiteX1" fmla="*/ 1733266 w 8952931"/>
                <a:gd name="connsiteY1" fmla="*/ 859808 h 900752"/>
                <a:gd name="connsiteX2" fmla="*/ 8952931 w 8952931"/>
                <a:gd name="connsiteY2" fmla="*/ 900752 h 900752"/>
                <a:gd name="connsiteX3" fmla="*/ 1801504 w 8952931"/>
                <a:gd name="connsiteY3" fmla="*/ 81886 h 900752"/>
                <a:gd name="connsiteX4" fmla="*/ 0 w 8952931"/>
                <a:gd name="connsiteY4" fmla="*/ 0 h 900752"/>
                <a:gd name="connsiteX0" fmla="*/ 0 w 8952931"/>
                <a:gd name="connsiteY0" fmla="*/ 0 h 900752"/>
                <a:gd name="connsiteX1" fmla="*/ 1733266 w 8952931"/>
                <a:gd name="connsiteY1" fmla="*/ 859808 h 900752"/>
                <a:gd name="connsiteX2" fmla="*/ 8952931 w 8952931"/>
                <a:gd name="connsiteY2" fmla="*/ 900752 h 900752"/>
                <a:gd name="connsiteX3" fmla="*/ 4207820 w 8952931"/>
                <a:gd name="connsiteY3" fmla="*/ 33760 h 900752"/>
                <a:gd name="connsiteX4" fmla="*/ 0 w 8952931"/>
                <a:gd name="connsiteY4" fmla="*/ 0 h 900752"/>
                <a:gd name="connsiteX0" fmla="*/ 673050 w 7219665"/>
                <a:gd name="connsiteY0" fmla="*/ 2335 h 866992"/>
                <a:gd name="connsiteX1" fmla="*/ 0 w 7219665"/>
                <a:gd name="connsiteY1" fmla="*/ 826048 h 866992"/>
                <a:gd name="connsiteX2" fmla="*/ 7219665 w 7219665"/>
                <a:gd name="connsiteY2" fmla="*/ 866992 h 866992"/>
                <a:gd name="connsiteX3" fmla="*/ 2474554 w 7219665"/>
                <a:gd name="connsiteY3" fmla="*/ 0 h 866992"/>
                <a:gd name="connsiteX4" fmla="*/ 673050 w 7219665"/>
                <a:gd name="connsiteY4" fmla="*/ 2335 h 86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9665" h="866992">
                  <a:moveTo>
                    <a:pt x="673050" y="2335"/>
                  </a:moveTo>
                  <a:lnTo>
                    <a:pt x="0" y="826048"/>
                  </a:lnTo>
                  <a:lnTo>
                    <a:pt x="7219665" y="866992"/>
                  </a:lnTo>
                  <a:lnTo>
                    <a:pt x="2474554" y="0"/>
                  </a:lnTo>
                  <a:lnTo>
                    <a:pt x="673050" y="2335"/>
                  </a:lnTo>
                  <a:close/>
                </a:path>
              </a:pathLst>
            </a:custGeom>
            <a:gradFill>
              <a:gsLst>
                <a:gs pos="100000">
                  <a:sysClr val="window" lastClr="FFFFFF">
                    <a:lumMod val="95000"/>
                  </a:sysClr>
                </a:gs>
                <a:gs pos="0">
                  <a:srgbClr val="EA428A">
                    <a:lumMod val="50000"/>
                    <a:alpha val="71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36" name="Rectangle: Rounded Corners 2">
              <a:extLst>
                <a:ext uri="{FF2B5EF4-FFF2-40B4-BE49-F238E27FC236}">
                  <a16:creationId xmlns:a16="http://schemas.microsoft.com/office/drawing/2014/main" id="{DC6F9CDF-34D2-F842-B2DD-C8603F8F0EDF}"/>
                </a:ext>
              </a:extLst>
            </p:cNvPr>
            <p:cNvSpPr/>
            <p:nvPr/>
          </p:nvSpPr>
          <p:spPr>
            <a:xfrm>
              <a:off x="583197" y="1049193"/>
              <a:ext cx="11202931" cy="432000"/>
            </a:xfrm>
            <a:prstGeom prst="roundRect">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Strategic Plan &amp; Scope</a:t>
              </a:r>
            </a:p>
          </p:txBody>
        </p:sp>
        <p:sp>
          <p:nvSpPr>
            <p:cNvPr id="37" name="Rectangle: Rounded Corners 3">
              <a:extLst>
                <a:ext uri="{FF2B5EF4-FFF2-40B4-BE49-F238E27FC236}">
                  <a16:creationId xmlns:a16="http://schemas.microsoft.com/office/drawing/2014/main" id="{BBB18B68-82D1-414E-A678-59E8E142AEBB}"/>
                </a:ext>
              </a:extLst>
            </p:cNvPr>
            <p:cNvSpPr/>
            <p:nvPr/>
          </p:nvSpPr>
          <p:spPr>
            <a:xfrm>
              <a:off x="583198" y="2226097"/>
              <a:ext cx="1944000" cy="756000"/>
            </a:xfrm>
            <a:prstGeom prst="roundRect">
              <a:avLst>
                <a:gd name="adj" fmla="val 11958"/>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Segoe UI"/>
                  <a:ea typeface="+mn-ea"/>
                  <a:cs typeface="+mn-cs"/>
                </a:rPr>
                <a:t>Network Design</a:t>
              </a:r>
              <a:endParaRPr kumimoji="0" lang="en-US" sz="1200" b="1" i="0" u="none" strike="noStrike" kern="0" cap="none" spc="0" normalizeH="0" baseline="0" noProof="0" dirty="0">
                <a:ln>
                  <a:noFill/>
                </a:ln>
                <a:solidFill>
                  <a:prstClr val="white"/>
                </a:solidFill>
                <a:effectLst/>
                <a:uLnTx/>
                <a:uFillTx/>
                <a:latin typeface="Segoe UI"/>
                <a:ea typeface="+mn-ea"/>
                <a:cs typeface="+mn-cs"/>
              </a:endParaRPr>
            </a:p>
          </p:txBody>
        </p:sp>
        <p:sp>
          <p:nvSpPr>
            <p:cNvPr id="38" name="Rectangle: Rounded Corners 5">
              <a:extLst>
                <a:ext uri="{FF2B5EF4-FFF2-40B4-BE49-F238E27FC236}">
                  <a16:creationId xmlns:a16="http://schemas.microsoft.com/office/drawing/2014/main" id="{9E650FC0-A7BC-6B48-AC41-A12B3DA90DFE}"/>
                </a:ext>
              </a:extLst>
            </p:cNvPr>
            <p:cNvSpPr/>
            <p:nvPr/>
          </p:nvSpPr>
          <p:spPr>
            <a:xfrm>
              <a:off x="2897931" y="2226097"/>
              <a:ext cx="1944000" cy="756000"/>
            </a:xfrm>
            <a:prstGeom prst="roundRect">
              <a:avLst>
                <a:gd name="adj" fmla="val 12455"/>
              </a:avLst>
            </a:prstGeom>
            <a:solidFill>
              <a:srgbClr val="EA428A">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Deployment</a:t>
              </a:r>
            </a:p>
          </p:txBody>
        </p:sp>
        <p:sp>
          <p:nvSpPr>
            <p:cNvPr id="39" name="Rectangle: Rounded Corners 6">
              <a:extLst>
                <a:ext uri="{FF2B5EF4-FFF2-40B4-BE49-F238E27FC236}">
                  <a16:creationId xmlns:a16="http://schemas.microsoft.com/office/drawing/2014/main" id="{92C230BD-12AD-4540-9A88-ACFAF335AF1D}"/>
                </a:ext>
              </a:extLst>
            </p:cNvPr>
            <p:cNvSpPr/>
            <p:nvPr/>
          </p:nvSpPr>
          <p:spPr>
            <a:xfrm>
              <a:off x="583197" y="1638467"/>
              <a:ext cx="11202931" cy="432000"/>
            </a:xfrm>
            <a:prstGeom prst="roundRect">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High Level Network Architecture</a:t>
              </a:r>
            </a:p>
          </p:txBody>
        </p:sp>
        <p:sp>
          <p:nvSpPr>
            <p:cNvPr id="40" name="Rectangle: Rounded Corners 7">
              <a:extLst>
                <a:ext uri="{FF2B5EF4-FFF2-40B4-BE49-F238E27FC236}">
                  <a16:creationId xmlns:a16="http://schemas.microsoft.com/office/drawing/2014/main" id="{8FC65D42-F12C-544A-B28D-88DCD009A993}"/>
                </a:ext>
              </a:extLst>
            </p:cNvPr>
            <p:cNvSpPr/>
            <p:nvPr/>
          </p:nvSpPr>
          <p:spPr>
            <a:xfrm>
              <a:off x="7527397" y="2226097"/>
              <a:ext cx="1944000" cy="756000"/>
            </a:xfrm>
            <a:prstGeom prst="roundRect">
              <a:avLst>
                <a:gd name="adj" fmla="val 10598"/>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Field Maintenance</a:t>
              </a:r>
            </a:p>
          </p:txBody>
        </p:sp>
        <p:sp>
          <p:nvSpPr>
            <p:cNvPr id="41" name="Rectangle: Rounded Corners 8">
              <a:extLst>
                <a:ext uri="{FF2B5EF4-FFF2-40B4-BE49-F238E27FC236}">
                  <a16:creationId xmlns:a16="http://schemas.microsoft.com/office/drawing/2014/main" id="{BC44CEAB-54E4-5545-A180-9D4E9BDBDA68}"/>
                </a:ext>
              </a:extLst>
            </p:cNvPr>
            <p:cNvSpPr/>
            <p:nvPr/>
          </p:nvSpPr>
          <p:spPr>
            <a:xfrm>
              <a:off x="5212664" y="2226097"/>
              <a:ext cx="1944000" cy="756000"/>
            </a:xfrm>
            <a:prstGeom prst="roundRect">
              <a:avLst>
                <a:gd name="adj" fmla="val 11051"/>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Operations &amp; Maintenance</a:t>
              </a:r>
            </a:p>
          </p:txBody>
        </p:sp>
        <p:sp>
          <p:nvSpPr>
            <p:cNvPr id="42" name="Rectangle: Rounded Corners 9">
              <a:extLst>
                <a:ext uri="{FF2B5EF4-FFF2-40B4-BE49-F238E27FC236}">
                  <a16:creationId xmlns:a16="http://schemas.microsoft.com/office/drawing/2014/main" id="{6A906942-D919-E246-981D-B59989AD3AC7}"/>
                </a:ext>
              </a:extLst>
            </p:cNvPr>
            <p:cNvSpPr/>
            <p:nvPr/>
          </p:nvSpPr>
          <p:spPr>
            <a:xfrm>
              <a:off x="9842128" y="2226097"/>
              <a:ext cx="1944000" cy="756000"/>
            </a:xfrm>
            <a:prstGeom prst="roundRect">
              <a:avLst>
                <a:gd name="adj" fmla="val 9150"/>
              </a:avLst>
            </a:prstGeom>
            <a:solidFill>
              <a:srgbClr val="00AEEF">
                <a:lumMod val="50000"/>
              </a:srgbClr>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Segoe UI"/>
                  <a:ea typeface="+mn-ea"/>
                  <a:cs typeface="+mn-cs"/>
                </a:rPr>
                <a:t>Post-Launch Engineering</a:t>
              </a:r>
            </a:p>
          </p:txBody>
        </p:sp>
        <p:cxnSp>
          <p:nvCxnSpPr>
            <p:cNvPr id="43" name="Straight Arrow Connector 42">
              <a:extLst>
                <a:ext uri="{FF2B5EF4-FFF2-40B4-BE49-F238E27FC236}">
                  <a16:creationId xmlns:a16="http://schemas.microsoft.com/office/drawing/2014/main" id="{DE00C8CC-2F88-964B-8E3D-35552EEC5380}"/>
                </a:ext>
              </a:extLst>
            </p:cNvPr>
            <p:cNvCxnSpPr>
              <a:stCxn id="37" idx="3"/>
              <a:endCxn id="38" idx="1"/>
            </p:cNvCxnSpPr>
            <p:nvPr/>
          </p:nvCxnSpPr>
          <p:spPr>
            <a:xfrm>
              <a:off x="2527198" y="2604097"/>
              <a:ext cx="370733" cy="0"/>
            </a:xfrm>
            <a:prstGeom prst="straightConnector1">
              <a:avLst/>
            </a:prstGeom>
            <a:noFill/>
            <a:ln w="6350" cap="flat" cmpd="sng" algn="ctr">
              <a:solidFill>
                <a:srgbClr val="000000">
                  <a:lumMod val="65000"/>
                  <a:lumOff val="35000"/>
                </a:srgbClr>
              </a:solidFill>
              <a:prstDash val="solid"/>
              <a:miter lim="800000"/>
              <a:tailEnd type="triangle"/>
            </a:ln>
            <a:effectLst/>
          </p:spPr>
        </p:cxnSp>
        <p:cxnSp>
          <p:nvCxnSpPr>
            <p:cNvPr id="44" name="Straight Arrow Connector 43">
              <a:extLst>
                <a:ext uri="{FF2B5EF4-FFF2-40B4-BE49-F238E27FC236}">
                  <a16:creationId xmlns:a16="http://schemas.microsoft.com/office/drawing/2014/main" id="{C7877527-8737-6E4A-9424-EDEDD0B243D3}"/>
                </a:ext>
              </a:extLst>
            </p:cNvPr>
            <p:cNvCxnSpPr>
              <a:cxnSpLocks/>
              <a:stCxn id="38" idx="3"/>
              <a:endCxn id="41" idx="1"/>
            </p:cNvCxnSpPr>
            <p:nvPr/>
          </p:nvCxnSpPr>
          <p:spPr>
            <a:xfrm>
              <a:off x="4841931" y="2604097"/>
              <a:ext cx="370733" cy="0"/>
            </a:xfrm>
            <a:prstGeom prst="straightConnector1">
              <a:avLst/>
            </a:prstGeom>
            <a:noFill/>
            <a:ln w="6350" cap="flat" cmpd="sng" algn="ctr">
              <a:solidFill>
                <a:srgbClr val="000000">
                  <a:lumMod val="65000"/>
                  <a:lumOff val="35000"/>
                </a:srgbClr>
              </a:solidFill>
              <a:prstDash val="solid"/>
              <a:miter lim="800000"/>
              <a:tailEnd type="triangle"/>
            </a:ln>
            <a:effectLst/>
          </p:spPr>
        </p:cxnSp>
        <p:cxnSp>
          <p:nvCxnSpPr>
            <p:cNvPr id="45" name="Straight Arrow Connector 44">
              <a:extLst>
                <a:ext uri="{FF2B5EF4-FFF2-40B4-BE49-F238E27FC236}">
                  <a16:creationId xmlns:a16="http://schemas.microsoft.com/office/drawing/2014/main" id="{C073828A-C77B-F448-94BB-B4516720C71E}"/>
                </a:ext>
              </a:extLst>
            </p:cNvPr>
            <p:cNvCxnSpPr>
              <a:cxnSpLocks/>
              <a:stCxn id="41" idx="3"/>
              <a:endCxn id="40" idx="1"/>
            </p:cNvCxnSpPr>
            <p:nvPr/>
          </p:nvCxnSpPr>
          <p:spPr>
            <a:xfrm>
              <a:off x="7156664" y="2604097"/>
              <a:ext cx="370733" cy="0"/>
            </a:xfrm>
            <a:prstGeom prst="straightConnector1">
              <a:avLst/>
            </a:prstGeom>
            <a:noFill/>
            <a:ln w="6350" cap="flat" cmpd="sng" algn="ctr">
              <a:solidFill>
                <a:srgbClr val="000000">
                  <a:lumMod val="65000"/>
                  <a:lumOff val="35000"/>
                </a:srgbClr>
              </a:solidFill>
              <a:prstDash val="solid"/>
              <a:miter lim="800000"/>
              <a:tailEnd type="triangle"/>
            </a:ln>
            <a:effectLst/>
          </p:spPr>
        </p:cxnSp>
        <p:cxnSp>
          <p:nvCxnSpPr>
            <p:cNvPr id="46" name="Straight Arrow Connector 45">
              <a:extLst>
                <a:ext uri="{FF2B5EF4-FFF2-40B4-BE49-F238E27FC236}">
                  <a16:creationId xmlns:a16="http://schemas.microsoft.com/office/drawing/2014/main" id="{784A92B4-EBFC-A941-82D2-87A5232CCF8B}"/>
                </a:ext>
              </a:extLst>
            </p:cNvPr>
            <p:cNvCxnSpPr>
              <a:cxnSpLocks/>
              <a:stCxn id="40" idx="3"/>
              <a:endCxn id="42" idx="1"/>
            </p:cNvCxnSpPr>
            <p:nvPr/>
          </p:nvCxnSpPr>
          <p:spPr>
            <a:xfrm>
              <a:off x="9471397" y="2604097"/>
              <a:ext cx="370731" cy="0"/>
            </a:xfrm>
            <a:prstGeom prst="straightConnector1">
              <a:avLst/>
            </a:prstGeom>
            <a:noFill/>
            <a:ln w="6350" cap="flat" cmpd="sng" algn="ctr">
              <a:solidFill>
                <a:srgbClr val="000000">
                  <a:lumMod val="65000"/>
                  <a:lumOff val="35000"/>
                </a:srgbClr>
              </a:solidFill>
              <a:prstDash val="solid"/>
              <a:miter lim="800000"/>
              <a:tailEnd type="triangle"/>
            </a:ln>
            <a:effectLst/>
          </p:spPr>
        </p:cxnSp>
        <p:sp>
          <p:nvSpPr>
            <p:cNvPr id="47" name="Rectangle: Rounded Corners 23">
              <a:extLst>
                <a:ext uri="{FF2B5EF4-FFF2-40B4-BE49-F238E27FC236}">
                  <a16:creationId xmlns:a16="http://schemas.microsoft.com/office/drawing/2014/main" id="{1C938D81-7BE5-9149-9E50-D94B25080DE3}"/>
                </a:ext>
              </a:extLst>
            </p:cNvPr>
            <p:cNvSpPr/>
            <p:nvPr/>
          </p:nvSpPr>
          <p:spPr>
            <a:xfrm>
              <a:off x="2183421" y="3756869"/>
              <a:ext cx="7456715" cy="2335239"/>
            </a:xfrm>
            <a:prstGeom prst="roundRect">
              <a:avLst>
                <a:gd name="adj" fmla="val 5529"/>
              </a:avLst>
            </a:prstGeom>
            <a:solidFill>
              <a:sysClr val="window" lastClr="FFFFFF"/>
            </a:solidFill>
            <a:ln w="12700" cap="flat" cmpd="sng" algn="ctr">
              <a:solidFill>
                <a:srgbClr val="00AEEF">
                  <a:lumMod val="50000"/>
                </a:srgbClr>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EEF">
                      <a:lumMod val="50000"/>
                    </a:srgbClr>
                  </a:solidFill>
                  <a:effectLst/>
                  <a:uLnTx/>
                  <a:uFillTx/>
                  <a:latin typeface="Segoe UI"/>
                  <a:ea typeface="+mn-ea"/>
                  <a:cs typeface="+mn-cs"/>
                </a:rPr>
                <a:t>Deployment</a:t>
              </a:r>
            </a:p>
          </p:txBody>
        </p:sp>
        <p:sp>
          <p:nvSpPr>
            <p:cNvPr id="48" name="Rectangle: Rounded Corners 26">
              <a:extLst>
                <a:ext uri="{FF2B5EF4-FFF2-40B4-BE49-F238E27FC236}">
                  <a16:creationId xmlns:a16="http://schemas.microsoft.com/office/drawing/2014/main" id="{DC32E8E3-8CA1-AB45-84A3-5206A4871604}"/>
                </a:ext>
              </a:extLst>
            </p:cNvPr>
            <p:cNvSpPr/>
            <p:nvPr/>
          </p:nvSpPr>
          <p:spPr>
            <a:xfrm>
              <a:off x="2475465" y="4148596"/>
              <a:ext cx="6885311" cy="432000"/>
            </a:xfrm>
            <a:prstGeom prst="roundRect">
              <a:avLst/>
            </a:prstGeom>
            <a:solidFill>
              <a:sysClr val="window" lastClr="FFFFFF">
                <a:lumMod val="95000"/>
              </a:sysClr>
            </a:solidFill>
            <a:ln w="12700" cap="flat" cmpd="sng" algn="ctr">
              <a:solidFill>
                <a:srgbClr val="0070C0"/>
              </a:solidFill>
              <a:prstDash val="solid"/>
              <a:miter lim="800000"/>
            </a:ln>
            <a:effectLst/>
          </p:spPr>
          <p:txBody>
            <a:bodyPr rtlCol="0" anchor="ctr"/>
            <a:lstStyle/>
            <a:p>
              <a:pPr algn="ctr" defTabSz="914400"/>
              <a:r>
                <a:rPr lang="en-US" sz="1100" kern="0" dirty="0">
                  <a:solidFill>
                    <a:srgbClr val="000000">
                      <a:lumMod val="65000"/>
                      <a:lumOff val="35000"/>
                    </a:srgbClr>
                  </a:solidFill>
                  <a:latin typeface="Segoe UI"/>
                </a:rPr>
                <a:t>Deployment Management</a:t>
              </a:r>
            </a:p>
          </p:txBody>
        </p:sp>
        <p:sp>
          <p:nvSpPr>
            <p:cNvPr id="49" name="Rectangle: Rounded Corners 35">
              <a:extLst>
                <a:ext uri="{FF2B5EF4-FFF2-40B4-BE49-F238E27FC236}">
                  <a16:creationId xmlns:a16="http://schemas.microsoft.com/office/drawing/2014/main" id="{B5077ACC-9FE0-064A-95FA-4C21ECE18203}"/>
                </a:ext>
              </a:extLst>
            </p:cNvPr>
            <p:cNvSpPr/>
            <p:nvPr/>
          </p:nvSpPr>
          <p:spPr>
            <a:xfrm>
              <a:off x="7411279" y="5092850"/>
              <a:ext cx="1876145" cy="432000"/>
            </a:xfrm>
            <a:prstGeom prst="roundRect">
              <a:avLst/>
            </a:prstGeom>
            <a:solidFill>
              <a:sysClr val="window" lastClr="FFFFFF">
                <a:lumMod val="95000"/>
              </a:sysClr>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a:solidFill>
                    <a:srgbClr val="000000">
                      <a:lumMod val="65000"/>
                      <a:lumOff val="35000"/>
                    </a:srgbClr>
                  </a:solidFill>
                  <a:latin typeface="Segoe UI"/>
                </a:rPr>
                <a:t>Installation and Commissioning</a:t>
              </a:r>
              <a:endParaRPr kumimoji="0" lang="en-US" sz="11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p:txBody>
        </p:sp>
        <p:cxnSp>
          <p:nvCxnSpPr>
            <p:cNvPr id="50" name="Straight Arrow Connector 49">
              <a:extLst>
                <a:ext uri="{FF2B5EF4-FFF2-40B4-BE49-F238E27FC236}">
                  <a16:creationId xmlns:a16="http://schemas.microsoft.com/office/drawing/2014/main" id="{D737C8B3-DFA6-4943-960C-D0BA09141834}"/>
                </a:ext>
              </a:extLst>
            </p:cNvPr>
            <p:cNvCxnSpPr>
              <a:cxnSpLocks/>
              <a:stCxn id="57" idx="3"/>
              <a:endCxn id="51" idx="1"/>
            </p:cNvCxnSpPr>
            <p:nvPr/>
          </p:nvCxnSpPr>
          <p:spPr>
            <a:xfrm flipV="1">
              <a:off x="9449419" y="5308850"/>
              <a:ext cx="649382" cy="6999"/>
            </a:xfrm>
            <a:prstGeom prst="straightConnector1">
              <a:avLst/>
            </a:prstGeom>
            <a:noFill/>
            <a:ln w="6350" cap="flat" cmpd="sng" algn="ctr">
              <a:solidFill>
                <a:srgbClr val="000000">
                  <a:lumMod val="50000"/>
                  <a:lumOff val="50000"/>
                </a:srgbClr>
              </a:solidFill>
              <a:prstDash val="solid"/>
              <a:miter lim="800000"/>
              <a:tailEnd type="triangle"/>
            </a:ln>
            <a:effectLst/>
          </p:spPr>
        </p:cxnSp>
        <p:sp>
          <p:nvSpPr>
            <p:cNvPr id="51" name="TextBox 50">
              <a:extLst>
                <a:ext uri="{FF2B5EF4-FFF2-40B4-BE49-F238E27FC236}">
                  <a16:creationId xmlns:a16="http://schemas.microsoft.com/office/drawing/2014/main" id="{23C9FC3C-B197-D24E-94CD-2BF443A5853D}"/>
                </a:ext>
              </a:extLst>
            </p:cNvPr>
            <p:cNvSpPr txBox="1"/>
            <p:nvPr/>
          </p:nvSpPr>
          <p:spPr>
            <a:xfrm>
              <a:off x="10098801" y="5170350"/>
              <a:ext cx="1116396" cy="276999"/>
            </a:xfrm>
            <a:prstGeom prst="rect">
              <a:avLst/>
            </a:prstGeom>
            <a:noFill/>
          </p:spPr>
          <p:txBody>
            <a:bodyPr wrap="none" rtlCol="0">
              <a:spAutoFit/>
            </a:bodyPr>
            <a:lstStyle/>
            <a:p>
              <a:pPr defTabSz="914400"/>
              <a:r>
                <a:rPr lang="en-US" sz="1200" dirty="0">
                  <a:solidFill>
                    <a:srgbClr val="00AEEF">
                      <a:lumMod val="50000"/>
                    </a:srgbClr>
                  </a:solidFill>
                  <a:latin typeface="Segoe UI"/>
                </a:rPr>
                <a:t>to Operations</a:t>
              </a:r>
            </a:p>
          </p:txBody>
        </p:sp>
        <p:sp>
          <p:nvSpPr>
            <p:cNvPr id="52" name="Callout: Right Arrow 85">
              <a:extLst>
                <a:ext uri="{FF2B5EF4-FFF2-40B4-BE49-F238E27FC236}">
                  <a16:creationId xmlns:a16="http://schemas.microsoft.com/office/drawing/2014/main" id="{CBCF4735-9133-1341-8CF2-03E67595FF45}"/>
                </a:ext>
              </a:extLst>
            </p:cNvPr>
            <p:cNvSpPr/>
            <p:nvPr/>
          </p:nvSpPr>
          <p:spPr>
            <a:xfrm>
              <a:off x="418429" y="3771988"/>
              <a:ext cx="1719358" cy="2320119"/>
            </a:xfrm>
            <a:prstGeom prst="rightArrowCallout">
              <a:avLst>
                <a:gd name="adj1" fmla="val 23412"/>
                <a:gd name="adj2" fmla="val 18650"/>
                <a:gd name="adj3" fmla="val 17003"/>
                <a:gd name="adj4" fmla="val 74750"/>
              </a:avLst>
            </a:prstGeom>
            <a:noFill/>
            <a:ln w="19050" cap="flat" cmpd="sng" algn="ctr">
              <a:solidFill>
                <a:srgbClr val="00AEEF">
                  <a:lumMod val="50000"/>
                </a:srgbClr>
              </a:solidFill>
              <a:prstDash val="solid"/>
              <a:miter lim="800000"/>
            </a:ln>
            <a:effectLst/>
          </p:spPr>
          <p:txBody>
            <a:bodyPr lIns="71981" rIns="71981" rtlCol="0" anchor="ctr"/>
            <a:lstStyle/>
            <a:p>
              <a:pPr marL="171399" marR="0" lvl="0" indent="-171399" defTabSz="914126"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Network HLD</a:t>
              </a:r>
            </a:p>
            <a:p>
              <a:pPr marL="171399" marR="0" lvl="0" indent="-171399" defTabSz="914126"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Network LLD</a:t>
              </a:r>
            </a:p>
            <a:p>
              <a:pPr marL="171399" marR="0" lvl="0" indent="-171399" defTabSz="914126"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Selected Equipment &amp; Vendors</a:t>
              </a:r>
            </a:p>
            <a:p>
              <a:pPr marL="171399" marR="0" lvl="0" indent="-171399" defTabSz="914126"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Business Strategy</a:t>
              </a:r>
            </a:p>
          </p:txBody>
        </p:sp>
        <p:sp>
          <p:nvSpPr>
            <p:cNvPr id="53" name="Rectangle: Rounded Corners 68">
              <a:extLst>
                <a:ext uri="{FF2B5EF4-FFF2-40B4-BE49-F238E27FC236}">
                  <a16:creationId xmlns:a16="http://schemas.microsoft.com/office/drawing/2014/main" id="{9CDA8A2E-5974-0E40-8951-7F404BF0C0D1}"/>
                </a:ext>
              </a:extLst>
            </p:cNvPr>
            <p:cNvSpPr/>
            <p:nvPr/>
          </p:nvSpPr>
          <p:spPr>
            <a:xfrm>
              <a:off x="4917451" y="4819626"/>
              <a:ext cx="1996658" cy="432000"/>
            </a:xfrm>
            <a:prstGeom prst="roundRect">
              <a:avLst/>
            </a:prstGeom>
            <a:solidFill>
              <a:sysClr val="window" lastClr="FFFFFF">
                <a:lumMod val="95000"/>
              </a:sysClr>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a:ea typeface="+mn-ea"/>
                  <a:cs typeface="+mn-cs"/>
                </a:rPr>
                <a:t>Tower/Site Construction</a:t>
              </a:r>
            </a:p>
          </p:txBody>
        </p:sp>
        <p:sp>
          <p:nvSpPr>
            <p:cNvPr id="54" name="Rectangle: Rounded Corners 69">
              <a:extLst>
                <a:ext uri="{FF2B5EF4-FFF2-40B4-BE49-F238E27FC236}">
                  <a16:creationId xmlns:a16="http://schemas.microsoft.com/office/drawing/2014/main" id="{558D0DD2-E929-014C-839B-D5E05F642130}"/>
                </a:ext>
              </a:extLst>
            </p:cNvPr>
            <p:cNvSpPr/>
            <p:nvPr/>
          </p:nvSpPr>
          <p:spPr>
            <a:xfrm>
              <a:off x="2475465" y="4819626"/>
              <a:ext cx="1996658" cy="999415"/>
            </a:xfrm>
            <a:prstGeom prst="roundRect">
              <a:avLst/>
            </a:prstGeom>
            <a:solidFill>
              <a:sysClr val="window" lastClr="FFFFFF">
                <a:lumMod val="95000"/>
              </a:sysClr>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lumMod val="65000"/>
                      <a:lumOff val="35000"/>
                    </a:srgbClr>
                  </a:solidFill>
                  <a:effectLst/>
                  <a:uLnTx/>
                  <a:uFillTx/>
                  <a:latin typeface="Segoe UI"/>
                  <a:ea typeface="+mn-ea"/>
                  <a:cs typeface="+mn-cs"/>
                </a:rPr>
                <a:t>Site Survey</a:t>
              </a:r>
            </a:p>
          </p:txBody>
        </p:sp>
        <p:sp>
          <p:nvSpPr>
            <p:cNvPr id="55" name="Rectangle: Rounded Corners 72">
              <a:extLst>
                <a:ext uri="{FF2B5EF4-FFF2-40B4-BE49-F238E27FC236}">
                  <a16:creationId xmlns:a16="http://schemas.microsoft.com/office/drawing/2014/main" id="{62042316-DB36-9E4B-8D29-70A0EBBB74D5}"/>
                </a:ext>
              </a:extLst>
            </p:cNvPr>
            <p:cNvSpPr/>
            <p:nvPr/>
          </p:nvSpPr>
          <p:spPr>
            <a:xfrm>
              <a:off x="4917451" y="5403980"/>
              <a:ext cx="1996658" cy="432000"/>
            </a:xfrm>
            <a:prstGeom prst="roundRect">
              <a:avLst/>
            </a:prstGeom>
            <a:solidFill>
              <a:schemeClr val="bg1">
                <a:lumMod val="50000"/>
              </a:schemeClr>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Segoe UI"/>
                  <a:ea typeface="+mn-ea"/>
                  <a:cs typeface="+mn-cs"/>
                </a:rPr>
                <a:t>Fiber Construction Management</a:t>
              </a:r>
            </a:p>
          </p:txBody>
        </p:sp>
        <p:sp>
          <p:nvSpPr>
            <p:cNvPr id="56" name="Rectangle: Rounded Corners 80">
              <a:extLst>
                <a:ext uri="{FF2B5EF4-FFF2-40B4-BE49-F238E27FC236}">
                  <a16:creationId xmlns:a16="http://schemas.microsoft.com/office/drawing/2014/main" id="{F6E42CB5-D83F-1D43-84A3-35585FE15995}"/>
                </a:ext>
              </a:extLst>
            </p:cNvPr>
            <p:cNvSpPr/>
            <p:nvPr/>
          </p:nvSpPr>
          <p:spPr>
            <a:xfrm>
              <a:off x="4817780" y="4690191"/>
              <a:ext cx="2196000" cy="1248531"/>
            </a:xfrm>
            <a:prstGeom prst="roundRect">
              <a:avLst/>
            </a:prstGeom>
            <a:noFill/>
            <a:ln w="12700" cap="flat" cmpd="sng" algn="ctr">
              <a:solidFill>
                <a:srgbClr val="000000">
                  <a:lumMod val="65000"/>
                  <a:lumOff val="3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p:txBody>
        </p:sp>
        <p:sp>
          <p:nvSpPr>
            <p:cNvPr id="57" name="Rectangle: Rounded Corners 81">
              <a:extLst>
                <a:ext uri="{FF2B5EF4-FFF2-40B4-BE49-F238E27FC236}">
                  <a16:creationId xmlns:a16="http://schemas.microsoft.com/office/drawing/2014/main" id="{35FB66D0-3476-FA44-A0A5-39A93225AF0A}"/>
                </a:ext>
              </a:extLst>
            </p:cNvPr>
            <p:cNvSpPr/>
            <p:nvPr/>
          </p:nvSpPr>
          <p:spPr>
            <a:xfrm>
              <a:off x="7253419" y="5041531"/>
              <a:ext cx="2196000" cy="548636"/>
            </a:xfrm>
            <a:prstGeom prst="roundRect">
              <a:avLst/>
            </a:prstGeom>
            <a:noFill/>
            <a:ln w="12700" cap="flat" cmpd="sng" algn="ctr">
              <a:solidFill>
                <a:srgbClr val="000000">
                  <a:lumMod val="65000"/>
                  <a:lumOff val="35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lumMod val="65000"/>
                    <a:lumOff val="35000"/>
                  </a:srgbClr>
                </a:solidFill>
                <a:effectLst/>
                <a:uLnTx/>
                <a:uFillTx/>
                <a:latin typeface="Segoe UI"/>
                <a:ea typeface="+mn-ea"/>
                <a:cs typeface="+mn-cs"/>
              </a:endParaRPr>
            </a:p>
          </p:txBody>
        </p:sp>
        <p:cxnSp>
          <p:nvCxnSpPr>
            <p:cNvPr id="58" name="Straight Arrow Connector 57">
              <a:extLst>
                <a:ext uri="{FF2B5EF4-FFF2-40B4-BE49-F238E27FC236}">
                  <a16:creationId xmlns:a16="http://schemas.microsoft.com/office/drawing/2014/main" id="{FBF2BE1C-BEA6-9649-AAED-A550710489B6}"/>
                </a:ext>
              </a:extLst>
            </p:cNvPr>
            <p:cNvCxnSpPr>
              <a:cxnSpLocks/>
              <a:stCxn id="54" idx="3"/>
              <a:endCxn id="56" idx="1"/>
            </p:cNvCxnSpPr>
            <p:nvPr/>
          </p:nvCxnSpPr>
          <p:spPr>
            <a:xfrm flipV="1">
              <a:off x="4472123" y="5314457"/>
              <a:ext cx="345657" cy="4877"/>
            </a:xfrm>
            <a:prstGeom prst="straightConnector1">
              <a:avLst/>
            </a:prstGeom>
            <a:noFill/>
            <a:ln w="6350" cap="flat" cmpd="sng" algn="ctr">
              <a:solidFill>
                <a:srgbClr val="000000">
                  <a:lumMod val="50000"/>
                  <a:lumOff val="50000"/>
                </a:srgbClr>
              </a:solidFill>
              <a:prstDash val="solid"/>
              <a:miter lim="800000"/>
              <a:tailEnd type="triangle"/>
            </a:ln>
            <a:effectLst/>
          </p:spPr>
        </p:cxnSp>
        <p:cxnSp>
          <p:nvCxnSpPr>
            <p:cNvPr id="59" name="Straight Arrow Connector 58">
              <a:extLst>
                <a:ext uri="{FF2B5EF4-FFF2-40B4-BE49-F238E27FC236}">
                  <a16:creationId xmlns:a16="http://schemas.microsoft.com/office/drawing/2014/main" id="{364A1BC6-B3D4-1543-BF4D-D6E3B66192C2}"/>
                </a:ext>
              </a:extLst>
            </p:cNvPr>
            <p:cNvCxnSpPr>
              <a:cxnSpLocks/>
              <a:stCxn id="56" idx="3"/>
              <a:endCxn id="57" idx="1"/>
            </p:cNvCxnSpPr>
            <p:nvPr/>
          </p:nvCxnSpPr>
          <p:spPr>
            <a:xfrm>
              <a:off x="7013780" y="5314457"/>
              <a:ext cx="239639" cy="1392"/>
            </a:xfrm>
            <a:prstGeom prst="straightConnector1">
              <a:avLst/>
            </a:prstGeom>
            <a:noFill/>
            <a:ln w="6350" cap="flat" cmpd="sng" algn="ctr">
              <a:solidFill>
                <a:srgbClr val="000000">
                  <a:lumMod val="50000"/>
                  <a:lumOff val="50000"/>
                </a:srgbClr>
              </a:solidFill>
              <a:prstDash val="solid"/>
              <a:miter lim="800000"/>
              <a:tailEnd type="triangle"/>
            </a:ln>
            <a:effectLst/>
          </p:spPr>
        </p:cxnSp>
      </p:grpSp>
    </p:spTree>
    <p:extLst>
      <p:ext uri="{BB962C8B-B14F-4D97-AF65-F5344CB8AC3E}">
        <p14:creationId xmlns:p14="http://schemas.microsoft.com/office/powerpoint/2010/main" val="224473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2D10FD-A08F-40C6-9A77-517023D2802F}"/>
              </a:ext>
            </a:extLst>
          </p:cNvPr>
          <p:cNvSpPr>
            <a:spLocks noGrp="1"/>
          </p:cNvSpPr>
          <p:nvPr>
            <p:ph type="title"/>
          </p:nvPr>
        </p:nvSpPr>
        <p:spPr/>
        <p:txBody>
          <a:bodyPr/>
          <a:lstStyle/>
          <a:p>
            <a:r>
              <a:rPr lang="en-US" dirty="0"/>
              <a:t>Figure 2. Fiber Construction Module Framework</a:t>
            </a:r>
          </a:p>
        </p:txBody>
      </p:sp>
      <p:grpSp>
        <p:nvGrpSpPr>
          <p:cNvPr id="4" name="Group 3">
            <a:extLst>
              <a:ext uri="{FF2B5EF4-FFF2-40B4-BE49-F238E27FC236}">
                <a16:creationId xmlns:a16="http://schemas.microsoft.com/office/drawing/2014/main" id="{5200819F-4AD4-D348-888A-DE78E685B4F0}"/>
              </a:ext>
            </a:extLst>
          </p:cNvPr>
          <p:cNvGrpSpPr/>
          <p:nvPr/>
        </p:nvGrpSpPr>
        <p:grpSpPr>
          <a:xfrm>
            <a:off x="536380" y="1067080"/>
            <a:ext cx="10640311" cy="4957710"/>
            <a:chOff x="536380" y="1067080"/>
            <a:chExt cx="10640311" cy="4957710"/>
          </a:xfrm>
        </p:grpSpPr>
        <p:sp>
          <p:nvSpPr>
            <p:cNvPr id="17" name="Rectangle: Rounded Corners 5">
              <a:extLst>
                <a:ext uri="{FF2B5EF4-FFF2-40B4-BE49-F238E27FC236}">
                  <a16:creationId xmlns:a16="http://schemas.microsoft.com/office/drawing/2014/main" id="{28AD668E-D513-AF42-93A8-57BEDBF93F03}"/>
                </a:ext>
              </a:extLst>
            </p:cNvPr>
            <p:cNvSpPr/>
            <p:nvPr/>
          </p:nvSpPr>
          <p:spPr>
            <a:xfrm>
              <a:off x="826427" y="1850814"/>
              <a:ext cx="1529645" cy="468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Architecture &amp; HLDs</a:t>
              </a:r>
            </a:p>
          </p:txBody>
        </p:sp>
        <p:sp>
          <p:nvSpPr>
            <p:cNvPr id="19" name="Rectangle: Rounded Corners 11">
              <a:extLst>
                <a:ext uri="{FF2B5EF4-FFF2-40B4-BE49-F238E27FC236}">
                  <a16:creationId xmlns:a16="http://schemas.microsoft.com/office/drawing/2014/main" id="{4059A17C-FD0B-5E40-B228-3622FC30D0CB}"/>
                </a:ext>
              </a:extLst>
            </p:cNvPr>
            <p:cNvSpPr/>
            <p:nvPr/>
          </p:nvSpPr>
          <p:spPr>
            <a:xfrm>
              <a:off x="1002189" y="5449543"/>
              <a:ext cx="1167158" cy="468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AEEF">
                      <a:lumMod val="50000"/>
                    </a:srgbClr>
                  </a:solidFill>
                  <a:effectLst/>
                  <a:uLnTx/>
                  <a:uFillTx/>
                  <a:latin typeface="Segoe UI"/>
                  <a:ea typeface="+mn-ea"/>
                  <a:cs typeface="+mn-cs"/>
                </a:rPr>
                <a:t>Construction Plan</a:t>
              </a:r>
              <a:endPar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endParaRPr>
            </a:p>
          </p:txBody>
        </p:sp>
        <p:sp>
          <p:nvSpPr>
            <p:cNvPr id="22" name="Rectangle: Rounded Corners 14">
              <a:extLst>
                <a:ext uri="{FF2B5EF4-FFF2-40B4-BE49-F238E27FC236}">
                  <a16:creationId xmlns:a16="http://schemas.microsoft.com/office/drawing/2014/main" id="{F8CD6578-4F1B-5E4F-8924-BB9800640271}"/>
                </a:ext>
              </a:extLst>
            </p:cNvPr>
            <p:cNvSpPr/>
            <p:nvPr/>
          </p:nvSpPr>
          <p:spPr>
            <a:xfrm>
              <a:off x="1220959" y="2743028"/>
              <a:ext cx="729620" cy="538745"/>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Path Survey</a:t>
              </a:r>
            </a:p>
          </p:txBody>
        </p:sp>
        <p:cxnSp>
          <p:nvCxnSpPr>
            <p:cNvPr id="24" name="Straight Arrow Connector 23">
              <a:extLst>
                <a:ext uri="{FF2B5EF4-FFF2-40B4-BE49-F238E27FC236}">
                  <a16:creationId xmlns:a16="http://schemas.microsoft.com/office/drawing/2014/main" id="{1151E4E1-363F-904C-A53C-BB0992C89F6E}"/>
                </a:ext>
              </a:extLst>
            </p:cNvPr>
            <p:cNvCxnSpPr>
              <a:cxnSpLocks/>
              <a:stCxn id="17" idx="2"/>
              <a:endCxn id="22" idx="0"/>
            </p:cNvCxnSpPr>
            <p:nvPr/>
          </p:nvCxnSpPr>
          <p:spPr>
            <a:xfrm flipH="1">
              <a:off x="1585769" y="2318814"/>
              <a:ext cx="5481" cy="424214"/>
            </a:xfrm>
            <a:prstGeom prst="straightConnector1">
              <a:avLst/>
            </a:prstGeom>
            <a:noFill/>
            <a:ln w="6350" cap="flat" cmpd="sng" algn="ctr">
              <a:solidFill>
                <a:srgbClr val="000000">
                  <a:lumMod val="65000"/>
                  <a:lumOff val="35000"/>
                </a:srgbClr>
              </a:solidFill>
              <a:prstDash val="solid"/>
              <a:miter lim="800000"/>
              <a:tailEnd type="triangle"/>
            </a:ln>
            <a:effectLst/>
          </p:spPr>
        </p:cxnSp>
        <p:grpSp>
          <p:nvGrpSpPr>
            <p:cNvPr id="25" name="Group 61">
              <a:extLst>
                <a:ext uri="{FF2B5EF4-FFF2-40B4-BE49-F238E27FC236}">
                  <a16:creationId xmlns:a16="http://schemas.microsoft.com/office/drawing/2014/main" id="{2F4066E7-B219-E24C-996F-556EBD223138}"/>
                </a:ext>
              </a:extLst>
            </p:cNvPr>
            <p:cNvGrpSpPr/>
            <p:nvPr/>
          </p:nvGrpSpPr>
          <p:grpSpPr>
            <a:xfrm>
              <a:off x="536380" y="1123700"/>
              <a:ext cx="2069432" cy="369332"/>
              <a:chOff x="509318" y="1278014"/>
              <a:chExt cx="4308330" cy="326230"/>
            </a:xfrm>
          </p:grpSpPr>
          <p:sp>
            <p:nvSpPr>
              <p:cNvPr id="26" name="TextBox 62">
                <a:extLst>
                  <a:ext uri="{FF2B5EF4-FFF2-40B4-BE49-F238E27FC236}">
                    <a16:creationId xmlns:a16="http://schemas.microsoft.com/office/drawing/2014/main" id="{F773B76E-C3C0-7448-B7F7-54F1F7014873}"/>
                  </a:ext>
                </a:extLst>
              </p:cNvPr>
              <p:cNvSpPr txBox="1"/>
              <p:nvPr/>
            </p:nvSpPr>
            <p:spPr>
              <a:xfrm>
                <a:off x="509318" y="1278014"/>
                <a:ext cx="4308330" cy="3262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AEEF">
                        <a:lumMod val="50000"/>
                      </a:srgbClr>
                    </a:solidFill>
                    <a:effectLst/>
                    <a:uLnTx/>
                    <a:uFillTx/>
                    <a:latin typeface="Segoe UI"/>
                  </a:rPr>
                  <a:t>Inputs</a:t>
                </a:r>
              </a:p>
            </p:txBody>
          </p:sp>
          <p:cxnSp>
            <p:nvCxnSpPr>
              <p:cNvPr id="27" name="Straight Connector 63">
                <a:extLst>
                  <a:ext uri="{FF2B5EF4-FFF2-40B4-BE49-F238E27FC236}">
                    <a16:creationId xmlns:a16="http://schemas.microsoft.com/office/drawing/2014/main" id="{399D915E-4683-C747-8877-10FA509443B2}"/>
                  </a:ext>
                </a:extLst>
              </p:cNvPr>
              <p:cNvCxnSpPr/>
              <p:nvPr/>
            </p:nvCxnSpPr>
            <p:spPr>
              <a:xfrm flipV="1">
                <a:off x="509320" y="1597687"/>
                <a:ext cx="4308328" cy="1"/>
              </a:xfrm>
              <a:prstGeom prst="line">
                <a:avLst/>
              </a:prstGeom>
              <a:noFill/>
              <a:ln w="19050" cap="flat" cmpd="sng" algn="ctr">
                <a:solidFill>
                  <a:srgbClr val="00AEEF">
                    <a:lumMod val="50000"/>
                  </a:srgbClr>
                </a:solidFill>
                <a:prstDash val="solid"/>
                <a:miter lim="800000"/>
              </a:ln>
              <a:effectLst/>
            </p:spPr>
          </p:cxnSp>
        </p:grpSp>
        <p:sp>
          <p:nvSpPr>
            <p:cNvPr id="28" name="Isosceles Triangle 94">
              <a:extLst>
                <a:ext uri="{FF2B5EF4-FFF2-40B4-BE49-F238E27FC236}">
                  <a16:creationId xmlns:a16="http://schemas.microsoft.com/office/drawing/2014/main" id="{C2B13C69-D045-B944-B959-58ECA9232354}"/>
                </a:ext>
              </a:extLst>
            </p:cNvPr>
            <p:cNvSpPr/>
            <p:nvPr/>
          </p:nvSpPr>
          <p:spPr>
            <a:xfrm rot="5400000">
              <a:off x="2270857" y="3872645"/>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grpSp>
          <p:nvGrpSpPr>
            <p:cNvPr id="29" name="Group 61">
              <a:extLst>
                <a:ext uri="{FF2B5EF4-FFF2-40B4-BE49-F238E27FC236}">
                  <a16:creationId xmlns:a16="http://schemas.microsoft.com/office/drawing/2014/main" id="{C2AAE96A-C73A-094E-BFAD-870073B4F94B}"/>
                </a:ext>
              </a:extLst>
            </p:cNvPr>
            <p:cNvGrpSpPr/>
            <p:nvPr/>
          </p:nvGrpSpPr>
          <p:grpSpPr>
            <a:xfrm>
              <a:off x="4823061" y="1067080"/>
              <a:ext cx="4539343" cy="369332"/>
              <a:chOff x="509318" y="1278014"/>
              <a:chExt cx="4308330" cy="326230"/>
            </a:xfrm>
          </p:grpSpPr>
          <p:sp>
            <p:nvSpPr>
              <p:cNvPr id="30" name="TextBox 62">
                <a:extLst>
                  <a:ext uri="{FF2B5EF4-FFF2-40B4-BE49-F238E27FC236}">
                    <a16:creationId xmlns:a16="http://schemas.microsoft.com/office/drawing/2014/main" id="{EA53A4A8-378F-5945-82B8-5AAAA751F753}"/>
                  </a:ext>
                </a:extLst>
              </p:cNvPr>
              <p:cNvSpPr txBox="1"/>
              <p:nvPr/>
            </p:nvSpPr>
            <p:spPr>
              <a:xfrm>
                <a:off x="509318" y="1278014"/>
                <a:ext cx="4308330" cy="3262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AEEF">
                        <a:lumMod val="50000"/>
                      </a:srgbClr>
                    </a:solidFill>
                    <a:effectLst/>
                    <a:uLnTx/>
                    <a:uFillTx/>
                    <a:latin typeface="Segoe UI"/>
                  </a:rPr>
                  <a:t>Fiber Construction</a:t>
                </a:r>
              </a:p>
            </p:txBody>
          </p:sp>
          <p:cxnSp>
            <p:nvCxnSpPr>
              <p:cNvPr id="31" name="Straight Connector 63">
                <a:extLst>
                  <a:ext uri="{FF2B5EF4-FFF2-40B4-BE49-F238E27FC236}">
                    <a16:creationId xmlns:a16="http://schemas.microsoft.com/office/drawing/2014/main" id="{FDF48DB1-405E-A24A-904E-68A4C10C5E5E}"/>
                  </a:ext>
                </a:extLst>
              </p:cNvPr>
              <p:cNvCxnSpPr/>
              <p:nvPr/>
            </p:nvCxnSpPr>
            <p:spPr>
              <a:xfrm flipV="1">
                <a:off x="509320" y="1597687"/>
                <a:ext cx="4308328" cy="1"/>
              </a:xfrm>
              <a:prstGeom prst="line">
                <a:avLst/>
              </a:prstGeom>
              <a:noFill/>
              <a:ln w="19050" cap="flat" cmpd="sng" algn="ctr">
                <a:solidFill>
                  <a:srgbClr val="00AEEF">
                    <a:lumMod val="50000"/>
                  </a:srgbClr>
                </a:solidFill>
                <a:prstDash val="solid"/>
                <a:miter lim="800000"/>
              </a:ln>
              <a:effectLst/>
            </p:spPr>
          </p:cxnSp>
        </p:grpSp>
        <p:sp>
          <p:nvSpPr>
            <p:cNvPr id="32" name="Rectangle: Rounded Corners 4">
              <a:extLst>
                <a:ext uri="{FF2B5EF4-FFF2-40B4-BE49-F238E27FC236}">
                  <a16:creationId xmlns:a16="http://schemas.microsoft.com/office/drawing/2014/main" id="{CA28E9DA-552F-B545-B4BA-E06D76036F45}"/>
                </a:ext>
              </a:extLst>
            </p:cNvPr>
            <p:cNvSpPr/>
            <p:nvPr/>
          </p:nvSpPr>
          <p:spPr>
            <a:xfrm>
              <a:off x="967728" y="3735805"/>
              <a:ext cx="1236082" cy="538745"/>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Infrastructure Availability</a:t>
              </a:r>
            </a:p>
          </p:txBody>
        </p:sp>
        <p:cxnSp>
          <p:nvCxnSpPr>
            <p:cNvPr id="33" name="Straight Arrow Connector 32">
              <a:extLst>
                <a:ext uri="{FF2B5EF4-FFF2-40B4-BE49-F238E27FC236}">
                  <a16:creationId xmlns:a16="http://schemas.microsoft.com/office/drawing/2014/main" id="{5AEB6012-D0E3-BA4F-82E0-8D885E9FFBEE}"/>
                </a:ext>
              </a:extLst>
            </p:cNvPr>
            <p:cNvCxnSpPr>
              <a:cxnSpLocks/>
              <a:stCxn id="32" idx="2"/>
              <a:endCxn id="34" idx="0"/>
            </p:cNvCxnSpPr>
            <p:nvPr/>
          </p:nvCxnSpPr>
          <p:spPr>
            <a:xfrm flipH="1">
              <a:off x="1585768" y="4274550"/>
              <a:ext cx="1" cy="402248"/>
            </a:xfrm>
            <a:prstGeom prst="straightConnector1">
              <a:avLst/>
            </a:prstGeom>
            <a:noFill/>
            <a:ln w="6350" cap="flat" cmpd="sng" algn="ctr">
              <a:solidFill>
                <a:srgbClr val="000000">
                  <a:lumMod val="65000"/>
                  <a:lumOff val="35000"/>
                </a:srgbClr>
              </a:solidFill>
              <a:prstDash val="solid"/>
              <a:miter lim="800000"/>
              <a:tailEnd type="triangle"/>
            </a:ln>
            <a:effectLst/>
          </p:spPr>
        </p:cxnSp>
        <p:sp>
          <p:nvSpPr>
            <p:cNvPr id="34" name="Rectangle: Rounded Corners 11">
              <a:extLst>
                <a:ext uri="{FF2B5EF4-FFF2-40B4-BE49-F238E27FC236}">
                  <a16:creationId xmlns:a16="http://schemas.microsoft.com/office/drawing/2014/main" id="{8F874511-F8E3-7540-BE97-82B6F196105C}"/>
                </a:ext>
              </a:extLst>
            </p:cNvPr>
            <p:cNvSpPr/>
            <p:nvPr/>
          </p:nvSpPr>
          <p:spPr>
            <a:xfrm>
              <a:off x="1068409" y="4676798"/>
              <a:ext cx="1034718" cy="468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Tech Specs</a:t>
              </a:r>
            </a:p>
          </p:txBody>
        </p:sp>
        <p:cxnSp>
          <p:nvCxnSpPr>
            <p:cNvPr id="35" name="Elbow Connector 34">
              <a:extLst>
                <a:ext uri="{FF2B5EF4-FFF2-40B4-BE49-F238E27FC236}">
                  <a16:creationId xmlns:a16="http://schemas.microsoft.com/office/drawing/2014/main" id="{E8817EAD-7D13-4B4C-8095-A045CA7374E1}"/>
                </a:ext>
              </a:extLst>
            </p:cNvPr>
            <p:cNvCxnSpPr>
              <a:cxnSpLocks/>
              <a:stCxn id="32" idx="3"/>
              <a:endCxn id="22" idx="3"/>
            </p:cNvCxnSpPr>
            <p:nvPr/>
          </p:nvCxnSpPr>
          <p:spPr>
            <a:xfrm flipH="1" flipV="1">
              <a:off x="1950579" y="3012401"/>
              <a:ext cx="253231" cy="992777"/>
            </a:xfrm>
            <a:prstGeom prst="bentConnector3">
              <a:avLst>
                <a:gd name="adj1" fmla="val -90273"/>
              </a:avLst>
            </a:prstGeom>
            <a:noFill/>
            <a:ln w="6350" cap="flat" cmpd="sng" algn="ctr">
              <a:solidFill>
                <a:srgbClr val="000000">
                  <a:lumMod val="65000"/>
                  <a:lumOff val="35000"/>
                </a:srgbClr>
              </a:solidFill>
              <a:prstDash val="solid"/>
              <a:miter lim="800000"/>
              <a:tailEnd type="triangle"/>
            </a:ln>
            <a:effectLst/>
          </p:spPr>
        </p:cxnSp>
        <p:sp>
          <p:nvSpPr>
            <p:cNvPr id="36" name="Rounded Rectangle 35">
              <a:extLst>
                <a:ext uri="{FF2B5EF4-FFF2-40B4-BE49-F238E27FC236}">
                  <a16:creationId xmlns:a16="http://schemas.microsoft.com/office/drawing/2014/main" id="{69A862B8-C3A8-0E4E-835C-BD63B6510682}"/>
                </a:ext>
              </a:extLst>
            </p:cNvPr>
            <p:cNvSpPr/>
            <p:nvPr/>
          </p:nvSpPr>
          <p:spPr>
            <a:xfrm>
              <a:off x="653971" y="1692042"/>
              <a:ext cx="1951841" cy="4332748"/>
            </a:xfrm>
            <a:prstGeom prst="roundRect">
              <a:avLst>
                <a:gd name="adj" fmla="val 7434"/>
              </a:avLst>
            </a:prstGeom>
            <a:noFill/>
            <a:ln w="12700" cap="flat" cmpd="sng" algn="ctr">
              <a:solidFill>
                <a:srgbClr val="00AEEF">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200" b="0" i="0" u="none" strike="noStrike" kern="0" cap="none" spc="0" normalizeH="0" baseline="0" noProof="0">
                <a:ln>
                  <a:noFill/>
                </a:ln>
                <a:solidFill>
                  <a:prstClr val="white"/>
                </a:solidFill>
                <a:effectLst/>
                <a:uLnTx/>
                <a:uFillTx/>
                <a:latin typeface="Segoe UI"/>
                <a:ea typeface="+mn-ea"/>
                <a:cs typeface="+mn-cs"/>
              </a:endParaRPr>
            </a:p>
          </p:txBody>
        </p:sp>
        <p:cxnSp>
          <p:nvCxnSpPr>
            <p:cNvPr id="37" name="Straight Arrow Connector 36">
              <a:extLst>
                <a:ext uri="{FF2B5EF4-FFF2-40B4-BE49-F238E27FC236}">
                  <a16:creationId xmlns:a16="http://schemas.microsoft.com/office/drawing/2014/main" id="{77CD9252-17FE-394C-942E-10DD721D81F7}"/>
                </a:ext>
              </a:extLst>
            </p:cNvPr>
            <p:cNvCxnSpPr>
              <a:cxnSpLocks/>
              <a:stCxn id="22" idx="2"/>
              <a:endCxn id="32" idx="0"/>
            </p:cNvCxnSpPr>
            <p:nvPr/>
          </p:nvCxnSpPr>
          <p:spPr>
            <a:xfrm>
              <a:off x="1585769" y="3281773"/>
              <a:ext cx="0" cy="454032"/>
            </a:xfrm>
            <a:prstGeom prst="straightConnector1">
              <a:avLst/>
            </a:prstGeom>
            <a:noFill/>
            <a:ln w="6350" cap="flat" cmpd="sng" algn="ctr">
              <a:solidFill>
                <a:srgbClr val="000000">
                  <a:lumMod val="65000"/>
                  <a:lumOff val="35000"/>
                </a:srgbClr>
              </a:solidFill>
              <a:prstDash val="solid"/>
              <a:miter lim="800000"/>
              <a:tailEnd type="triangle"/>
            </a:ln>
            <a:effectLst/>
          </p:spPr>
        </p:cxnSp>
        <p:cxnSp>
          <p:nvCxnSpPr>
            <p:cNvPr id="38" name="Straight Arrow Connector 37">
              <a:extLst>
                <a:ext uri="{FF2B5EF4-FFF2-40B4-BE49-F238E27FC236}">
                  <a16:creationId xmlns:a16="http://schemas.microsoft.com/office/drawing/2014/main" id="{6569D579-1666-FF4A-96A7-D731B814837E}"/>
                </a:ext>
              </a:extLst>
            </p:cNvPr>
            <p:cNvCxnSpPr>
              <a:cxnSpLocks/>
              <a:stCxn id="34" idx="2"/>
              <a:endCxn id="19" idx="0"/>
            </p:cNvCxnSpPr>
            <p:nvPr/>
          </p:nvCxnSpPr>
          <p:spPr>
            <a:xfrm>
              <a:off x="1585768" y="5144798"/>
              <a:ext cx="0" cy="304745"/>
            </a:xfrm>
            <a:prstGeom prst="straightConnector1">
              <a:avLst/>
            </a:prstGeom>
            <a:noFill/>
            <a:ln w="6350" cap="flat" cmpd="sng" algn="ctr">
              <a:solidFill>
                <a:srgbClr val="000000">
                  <a:lumMod val="65000"/>
                  <a:lumOff val="35000"/>
                </a:srgbClr>
              </a:solidFill>
              <a:prstDash val="solid"/>
              <a:miter lim="800000"/>
              <a:tailEnd type="triangle"/>
            </a:ln>
            <a:effectLst/>
          </p:spPr>
        </p:cxnSp>
        <p:grpSp>
          <p:nvGrpSpPr>
            <p:cNvPr id="39" name="Group 38">
              <a:extLst>
                <a:ext uri="{FF2B5EF4-FFF2-40B4-BE49-F238E27FC236}">
                  <a16:creationId xmlns:a16="http://schemas.microsoft.com/office/drawing/2014/main" id="{03CED96C-76DF-FF42-814D-1D7991031C1B}"/>
                </a:ext>
              </a:extLst>
            </p:cNvPr>
            <p:cNvGrpSpPr/>
            <p:nvPr/>
          </p:nvGrpSpPr>
          <p:grpSpPr>
            <a:xfrm>
              <a:off x="5978612" y="2756609"/>
              <a:ext cx="2394317" cy="2590867"/>
              <a:chOff x="5835283" y="2068219"/>
              <a:chExt cx="2394317" cy="2590867"/>
            </a:xfrm>
          </p:grpSpPr>
          <p:sp>
            <p:nvSpPr>
              <p:cNvPr id="40" name="Rectangle: Rounded Corners 3">
                <a:extLst>
                  <a:ext uri="{FF2B5EF4-FFF2-40B4-BE49-F238E27FC236}">
                    <a16:creationId xmlns:a16="http://schemas.microsoft.com/office/drawing/2014/main" id="{3199099C-4B34-6F4C-BB0A-1925E42AD0D9}"/>
                  </a:ext>
                </a:extLst>
              </p:cNvPr>
              <p:cNvSpPr/>
              <p:nvPr/>
            </p:nvSpPr>
            <p:spPr>
              <a:xfrm>
                <a:off x="5969600" y="2160002"/>
                <a:ext cx="2129371" cy="887414"/>
              </a:xfrm>
              <a:prstGeom prst="roundRect">
                <a:avLst>
                  <a:gd name="adj" fmla="val 7806"/>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EEF">
                        <a:lumMod val="50000"/>
                      </a:srgbClr>
                    </a:solidFill>
                    <a:effectLst/>
                    <a:uLnTx/>
                    <a:uFillTx/>
                    <a:latin typeface="Segoe UI"/>
                    <a:ea typeface="+mn-ea"/>
                    <a:cs typeface="+mn-cs"/>
                  </a:rPr>
                  <a:t>Project Management</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Use Case Specific</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Infrastructure availability dependent</a:t>
                </a:r>
              </a:p>
            </p:txBody>
          </p:sp>
          <p:sp>
            <p:nvSpPr>
              <p:cNvPr id="41" name="Rectangle: Rounded Corners 3">
                <a:extLst>
                  <a:ext uri="{FF2B5EF4-FFF2-40B4-BE49-F238E27FC236}">
                    <a16:creationId xmlns:a16="http://schemas.microsoft.com/office/drawing/2014/main" id="{64B4B0BF-F78C-7648-A9C5-3B0389A73820}"/>
                  </a:ext>
                </a:extLst>
              </p:cNvPr>
              <p:cNvSpPr/>
              <p:nvPr/>
            </p:nvSpPr>
            <p:spPr>
              <a:xfrm>
                <a:off x="5969600" y="3255812"/>
                <a:ext cx="2129371" cy="1281809"/>
              </a:xfrm>
              <a:prstGeom prst="roundRect">
                <a:avLst>
                  <a:gd name="adj" fmla="val 7806"/>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EEF">
                        <a:lumMod val="50000"/>
                      </a:srgbClr>
                    </a:solidFill>
                    <a:effectLst/>
                    <a:uLnTx/>
                    <a:uFillTx/>
                    <a:latin typeface="Segoe UI"/>
                    <a:ea typeface="+mn-ea"/>
                    <a:cs typeface="+mn-cs"/>
                  </a:rPr>
                  <a:t>Vendor Management</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Onboarding</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Kick-off</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Project Plan</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Milestones</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Reporting</a:t>
                </a:r>
              </a:p>
            </p:txBody>
          </p:sp>
          <p:cxnSp>
            <p:nvCxnSpPr>
              <p:cNvPr id="42" name="Straight Arrow Connector 41">
                <a:extLst>
                  <a:ext uri="{FF2B5EF4-FFF2-40B4-BE49-F238E27FC236}">
                    <a16:creationId xmlns:a16="http://schemas.microsoft.com/office/drawing/2014/main" id="{3B8294F5-DD57-D642-9EAD-94515B3A8428}"/>
                  </a:ext>
                </a:extLst>
              </p:cNvPr>
              <p:cNvCxnSpPr>
                <a:cxnSpLocks/>
                <a:stCxn id="40" idx="2"/>
                <a:endCxn id="41" idx="0"/>
              </p:cNvCxnSpPr>
              <p:nvPr/>
            </p:nvCxnSpPr>
            <p:spPr>
              <a:xfrm>
                <a:off x="7034286" y="3047416"/>
                <a:ext cx="0" cy="208396"/>
              </a:xfrm>
              <a:prstGeom prst="straightConnector1">
                <a:avLst/>
              </a:prstGeom>
              <a:noFill/>
              <a:ln w="6350" cap="flat" cmpd="sng" algn="ctr">
                <a:solidFill>
                  <a:srgbClr val="000000">
                    <a:lumMod val="65000"/>
                    <a:lumOff val="35000"/>
                  </a:srgbClr>
                </a:solidFill>
                <a:prstDash val="solid"/>
                <a:miter lim="800000"/>
                <a:tailEnd type="triangle"/>
              </a:ln>
              <a:effectLst/>
            </p:spPr>
          </p:cxnSp>
          <p:sp>
            <p:nvSpPr>
              <p:cNvPr id="43" name="Rounded Rectangle 42">
                <a:extLst>
                  <a:ext uri="{FF2B5EF4-FFF2-40B4-BE49-F238E27FC236}">
                    <a16:creationId xmlns:a16="http://schemas.microsoft.com/office/drawing/2014/main" id="{4378A4A2-0DB4-D347-81C6-4C6A904A0EEF}"/>
                  </a:ext>
                </a:extLst>
              </p:cNvPr>
              <p:cNvSpPr/>
              <p:nvPr/>
            </p:nvSpPr>
            <p:spPr>
              <a:xfrm>
                <a:off x="5835283" y="2068219"/>
                <a:ext cx="2394317" cy="2590867"/>
              </a:xfrm>
              <a:prstGeom prst="roundRect">
                <a:avLst>
                  <a:gd name="adj" fmla="val 7434"/>
                </a:avLst>
              </a:prstGeom>
              <a:noFill/>
              <a:ln w="12700" cap="flat" cmpd="sng" algn="ctr">
                <a:solidFill>
                  <a:srgbClr val="00AEEF">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200"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AD382B17-210E-F74E-8CA3-6F8DEB929C2B}"/>
                </a:ext>
              </a:extLst>
            </p:cNvPr>
            <p:cNvGrpSpPr/>
            <p:nvPr/>
          </p:nvGrpSpPr>
          <p:grpSpPr>
            <a:xfrm>
              <a:off x="2951474" y="2983301"/>
              <a:ext cx="2568273" cy="1848448"/>
              <a:chOff x="2591556" y="2820725"/>
              <a:chExt cx="2568273" cy="1848448"/>
            </a:xfrm>
          </p:grpSpPr>
          <p:sp>
            <p:nvSpPr>
              <p:cNvPr id="45" name="Rectangle: Rounded Corners 4">
                <a:extLst>
                  <a:ext uri="{FF2B5EF4-FFF2-40B4-BE49-F238E27FC236}">
                    <a16:creationId xmlns:a16="http://schemas.microsoft.com/office/drawing/2014/main" id="{51C7D09B-8935-FF40-A720-CBB3B4F1F7BF}"/>
                  </a:ext>
                </a:extLst>
              </p:cNvPr>
              <p:cNvSpPr/>
              <p:nvPr/>
            </p:nvSpPr>
            <p:spPr>
              <a:xfrm>
                <a:off x="2739497" y="2926343"/>
                <a:ext cx="2293007" cy="827924"/>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AEEF">
                        <a:lumMod val="50000"/>
                      </a:srgbClr>
                    </a:solidFill>
                    <a:effectLst/>
                    <a:uLnTx/>
                    <a:uFillTx/>
                    <a:latin typeface="Segoe UI"/>
                    <a:ea typeface="+mn-ea"/>
                    <a:cs typeface="+mn-cs"/>
                  </a:rPr>
                  <a:t>RFx</a:t>
                </a:r>
                <a:endParaRPr kumimoji="0" lang="en-US" sz="1200" b="1" i="0" u="none" strike="noStrike" kern="0" cap="none" spc="0" normalizeH="0" baseline="0" noProof="0" dirty="0">
                  <a:ln>
                    <a:noFill/>
                  </a:ln>
                  <a:solidFill>
                    <a:srgbClr val="00AEEF">
                      <a:lumMod val="50000"/>
                    </a:srgbClr>
                  </a:solidFill>
                  <a:effectLst/>
                  <a:uLnTx/>
                  <a:uFillTx/>
                  <a:latin typeface="Segoe UI"/>
                  <a:ea typeface="+mn-ea"/>
                  <a:cs typeface="+mn-cs"/>
                </a:endParaRP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Use Case Specific</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Infrastructure availability dependent</a:t>
                </a:r>
              </a:p>
            </p:txBody>
          </p:sp>
          <p:sp>
            <p:nvSpPr>
              <p:cNvPr id="46" name="Rectangle: Rounded Corners 9">
                <a:extLst>
                  <a:ext uri="{FF2B5EF4-FFF2-40B4-BE49-F238E27FC236}">
                    <a16:creationId xmlns:a16="http://schemas.microsoft.com/office/drawing/2014/main" id="{652E246C-A201-5A45-937B-47E3588D3022}"/>
                  </a:ext>
                </a:extLst>
              </p:cNvPr>
              <p:cNvSpPr/>
              <p:nvPr/>
            </p:nvSpPr>
            <p:spPr>
              <a:xfrm>
                <a:off x="2743455" y="4014000"/>
                <a:ext cx="2293005" cy="511839"/>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Vendor evaluation and selection</a:t>
                </a:r>
              </a:p>
            </p:txBody>
          </p:sp>
          <p:sp>
            <p:nvSpPr>
              <p:cNvPr id="47" name="Rounded Rectangle 46">
                <a:extLst>
                  <a:ext uri="{FF2B5EF4-FFF2-40B4-BE49-F238E27FC236}">
                    <a16:creationId xmlns:a16="http://schemas.microsoft.com/office/drawing/2014/main" id="{1AA119C6-B8B8-C740-BADB-806516C2A6DC}"/>
                  </a:ext>
                </a:extLst>
              </p:cNvPr>
              <p:cNvSpPr/>
              <p:nvPr/>
            </p:nvSpPr>
            <p:spPr>
              <a:xfrm>
                <a:off x="2591556" y="2820725"/>
                <a:ext cx="2568273" cy="1848448"/>
              </a:xfrm>
              <a:prstGeom prst="roundRect">
                <a:avLst>
                  <a:gd name="adj" fmla="val 7434"/>
                </a:avLst>
              </a:prstGeom>
              <a:noFill/>
              <a:ln w="12700" cap="flat" cmpd="sng" algn="ctr">
                <a:solidFill>
                  <a:srgbClr val="00AEEF">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200" b="0" i="0" u="none" strike="noStrike" kern="0" cap="none" spc="0" normalizeH="0" baseline="0" noProof="0">
                  <a:ln>
                    <a:noFill/>
                  </a:ln>
                  <a:solidFill>
                    <a:prstClr val="white"/>
                  </a:solidFill>
                  <a:effectLst/>
                  <a:uLnTx/>
                  <a:uFillTx/>
                  <a:latin typeface="Segoe UI"/>
                  <a:ea typeface="+mn-ea"/>
                  <a:cs typeface="+mn-cs"/>
                </a:endParaRPr>
              </a:p>
            </p:txBody>
          </p:sp>
          <p:cxnSp>
            <p:nvCxnSpPr>
              <p:cNvPr id="48" name="Straight Arrow Connector 47">
                <a:extLst>
                  <a:ext uri="{FF2B5EF4-FFF2-40B4-BE49-F238E27FC236}">
                    <a16:creationId xmlns:a16="http://schemas.microsoft.com/office/drawing/2014/main" id="{B36AA30E-0FAB-4548-A68B-F3CF2267E86B}"/>
                  </a:ext>
                </a:extLst>
              </p:cNvPr>
              <p:cNvCxnSpPr>
                <a:cxnSpLocks/>
                <a:stCxn id="45" idx="2"/>
                <a:endCxn id="46" idx="0"/>
              </p:cNvCxnSpPr>
              <p:nvPr/>
            </p:nvCxnSpPr>
            <p:spPr>
              <a:xfrm>
                <a:off x="3886001" y="3754267"/>
                <a:ext cx="3957" cy="259733"/>
              </a:xfrm>
              <a:prstGeom prst="straightConnector1">
                <a:avLst/>
              </a:prstGeom>
              <a:noFill/>
              <a:ln w="6350" cap="flat" cmpd="sng" algn="ctr">
                <a:solidFill>
                  <a:srgbClr val="000000">
                    <a:lumMod val="65000"/>
                    <a:lumOff val="35000"/>
                  </a:srgbClr>
                </a:solidFill>
                <a:prstDash val="solid"/>
                <a:miter lim="800000"/>
                <a:tailEnd type="triangle"/>
              </a:ln>
              <a:effectLst/>
            </p:spPr>
          </p:cxnSp>
        </p:grpSp>
        <p:sp>
          <p:nvSpPr>
            <p:cNvPr id="49" name="Isosceles Triangle 94">
              <a:extLst>
                <a:ext uri="{FF2B5EF4-FFF2-40B4-BE49-F238E27FC236}">
                  <a16:creationId xmlns:a16="http://schemas.microsoft.com/office/drawing/2014/main" id="{D10DA0DF-DC19-1D48-8261-EFC1DE89AB55}"/>
                </a:ext>
              </a:extLst>
            </p:cNvPr>
            <p:cNvSpPr/>
            <p:nvPr/>
          </p:nvSpPr>
          <p:spPr>
            <a:xfrm rot="5400000">
              <a:off x="5231821" y="3895350"/>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D7A4016D-E0E4-C147-A1BC-DB1E7C57D38F}"/>
                </a:ext>
              </a:extLst>
            </p:cNvPr>
            <p:cNvGrpSpPr/>
            <p:nvPr/>
          </p:nvGrpSpPr>
          <p:grpSpPr>
            <a:xfrm>
              <a:off x="8926006" y="3000346"/>
              <a:ext cx="2068711" cy="1971161"/>
              <a:chOff x="8532628" y="2543061"/>
              <a:chExt cx="2068711" cy="1971161"/>
            </a:xfrm>
          </p:grpSpPr>
          <p:sp>
            <p:nvSpPr>
              <p:cNvPr id="51" name="Rectangle: Rounded Corners 3">
                <a:extLst>
                  <a:ext uri="{FF2B5EF4-FFF2-40B4-BE49-F238E27FC236}">
                    <a16:creationId xmlns:a16="http://schemas.microsoft.com/office/drawing/2014/main" id="{5EEEBEFE-B7DB-5F41-9B2D-FE29AA79B7DC}"/>
                  </a:ext>
                </a:extLst>
              </p:cNvPr>
              <p:cNvSpPr/>
              <p:nvPr/>
            </p:nvSpPr>
            <p:spPr>
              <a:xfrm>
                <a:off x="8668102" y="2741952"/>
                <a:ext cx="1814842" cy="687048"/>
              </a:xfrm>
              <a:prstGeom prst="roundRect">
                <a:avLst>
                  <a:gd name="adj" fmla="val 7806"/>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EEF">
                        <a:lumMod val="50000"/>
                      </a:srgbClr>
                    </a:solidFill>
                    <a:effectLst/>
                    <a:uLnTx/>
                    <a:uFillTx/>
                    <a:latin typeface="Segoe UI"/>
                    <a:ea typeface="+mn-ea"/>
                    <a:cs typeface="+mn-cs"/>
                  </a:rPr>
                  <a:t>Project Acceptance</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Documentation</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Test &amp; Acceptance</a:t>
                </a:r>
              </a:p>
            </p:txBody>
          </p:sp>
          <p:sp>
            <p:nvSpPr>
              <p:cNvPr id="52" name="Rectangle: Rounded Corners 3">
                <a:extLst>
                  <a:ext uri="{FF2B5EF4-FFF2-40B4-BE49-F238E27FC236}">
                    <a16:creationId xmlns:a16="http://schemas.microsoft.com/office/drawing/2014/main" id="{902F1BE2-8C76-DE41-ABE1-0FB28EDD7DD5}"/>
                  </a:ext>
                </a:extLst>
              </p:cNvPr>
              <p:cNvSpPr/>
              <p:nvPr/>
            </p:nvSpPr>
            <p:spPr>
              <a:xfrm>
                <a:off x="8669808" y="3626050"/>
                <a:ext cx="1813256" cy="687048"/>
              </a:xfrm>
              <a:prstGeom prst="roundRect">
                <a:avLst>
                  <a:gd name="adj" fmla="val 7806"/>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EEF">
                        <a:lumMod val="50000"/>
                      </a:srgbClr>
                    </a:solidFill>
                    <a:effectLst/>
                    <a:uLnTx/>
                    <a:uFillTx/>
                    <a:latin typeface="Segoe UI"/>
                    <a:ea typeface="+mn-ea"/>
                    <a:cs typeface="+mn-cs"/>
                  </a:rPr>
                  <a:t>Handover to Operations</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Project Completion</a:t>
                </a:r>
              </a:p>
              <a:p>
                <a:pPr marL="171450" marR="0" lvl="0" indent="-171450" defTabSz="914400" eaLnBrk="1" fontAlgn="auto" latinLnBrk="0" hangingPunct="1">
                  <a:lnSpc>
                    <a:spcPct val="100000"/>
                  </a:lnSpc>
                  <a:spcBef>
                    <a:spcPts val="0"/>
                  </a:spcBef>
                  <a:spcAft>
                    <a:spcPts val="0"/>
                  </a:spcAft>
                  <a:buClrTx/>
                  <a:buSzTx/>
                  <a:buFont typeface="Wingdings" pitchFamily="2" charset="2"/>
                  <a:buChar char="§"/>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Closure</a:t>
                </a:r>
              </a:p>
            </p:txBody>
          </p:sp>
          <p:sp>
            <p:nvSpPr>
              <p:cNvPr id="53" name="Rounded Rectangle 52">
                <a:extLst>
                  <a:ext uri="{FF2B5EF4-FFF2-40B4-BE49-F238E27FC236}">
                    <a16:creationId xmlns:a16="http://schemas.microsoft.com/office/drawing/2014/main" id="{F0AD71E6-5886-E94C-85EB-616DEE0B13BB}"/>
                  </a:ext>
                </a:extLst>
              </p:cNvPr>
              <p:cNvSpPr/>
              <p:nvPr/>
            </p:nvSpPr>
            <p:spPr>
              <a:xfrm>
                <a:off x="8532628" y="2543061"/>
                <a:ext cx="2068711" cy="1971161"/>
              </a:xfrm>
              <a:prstGeom prst="roundRect">
                <a:avLst>
                  <a:gd name="adj" fmla="val 7434"/>
                </a:avLst>
              </a:prstGeom>
              <a:noFill/>
              <a:ln w="12700" cap="flat" cmpd="sng" algn="ctr">
                <a:solidFill>
                  <a:srgbClr val="00AEEF">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200" b="0" i="0" u="none" strike="noStrike" kern="0" cap="none" spc="0" normalizeH="0" baseline="0" noProof="0">
                  <a:ln>
                    <a:noFill/>
                  </a:ln>
                  <a:solidFill>
                    <a:prstClr val="white"/>
                  </a:solidFill>
                  <a:effectLst/>
                  <a:uLnTx/>
                  <a:uFillTx/>
                  <a:latin typeface="Segoe UI"/>
                  <a:ea typeface="+mn-ea"/>
                  <a:cs typeface="+mn-cs"/>
                </a:endParaRPr>
              </a:p>
            </p:txBody>
          </p:sp>
        </p:grpSp>
        <p:sp>
          <p:nvSpPr>
            <p:cNvPr id="54" name="Isosceles Triangle 94">
              <a:extLst>
                <a:ext uri="{FF2B5EF4-FFF2-40B4-BE49-F238E27FC236}">
                  <a16:creationId xmlns:a16="http://schemas.microsoft.com/office/drawing/2014/main" id="{DDD1EA72-BC73-AA4F-B0E5-E0086D762DBA}"/>
                </a:ext>
              </a:extLst>
            </p:cNvPr>
            <p:cNvSpPr/>
            <p:nvPr/>
          </p:nvSpPr>
          <p:spPr>
            <a:xfrm rot="5400000">
              <a:off x="8147456" y="3895351"/>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grpSp>
          <p:nvGrpSpPr>
            <p:cNvPr id="55" name="Group 61">
              <a:extLst>
                <a:ext uri="{FF2B5EF4-FFF2-40B4-BE49-F238E27FC236}">
                  <a16:creationId xmlns:a16="http://schemas.microsoft.com/office/drawing/2014/main" id="{89BDE76F-D038-7543-BF74-457D99A2D878}"/>
                </a:ext>
              </a:extLst>
            </p:cNvPr>
            <p:cNvGrpSpPr/>
            <p:nvPr/>
          </p:nvGrpSpPr>
          <p:grpSpPr>
            <a:xfrm>
              <a:off x="2898044" y="1687634"/>
              <a:ext cx="2621704" cy="369332"/>
              <a:chOff x="509318" y="1278014"/>
              <a:chExt cx="4308330" cy="326230"/>
            </a:xfrm>
          </p:grpSpPr>
          <p:sp>
            <p:nvSpPr>
              <p:cNvPr id="56" name="TextBox 62">
                <a:extLst>
                  <a:ext uri="{FF2B5EF4-FFF2-40B4-BE49-F238E27FC236}">
                    <a16:creationId xmlns:a16="http://schemas.microsoft.com/office/drawing/2014/main" id="{84F0EB37-F728-BD4F-AA31-468FC1A57A64}"/>
                  </a:ext>
                </a:extLst>
              </p:cNvPr>
              <p:cNvSpPr txBox="1"/>
              <p:nvPr/>
            </p:nvSpPr>
            <p:spPr>
              <a:xfrm>
                <a:off x="509318" y="1278014"/>
                <a:ext cx="4308330" cy="3262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AEEF">
                        <a:lumMod val="50000"/>
                      </a:srgbClr>
                    </a:solidFill>
                    <a:effectLst/>
                    <a:uLnTx/>
                    <a:uFillTx/>
                    <a:latin typeface="Segoe UI"/>
                  </a:rPr>
                  <a:t>Project Initialization</a:t>
                </a:r>
              </a:p>
            </p:txBody>
          </p:sp>
          <p:cxnSp>
            <p:nvCxnSpPr>
              <p:cNvPr id="57" name="Straight Connector 63">
                <a:extLst>
                  <a:ext uri="{FF2B5EF4-FFF2-40B4-BE49-F238E27FC236}">
                    <a16:creationId xmlns:a16="http://schemas.microsoft.com/office/drawing/2014/main" id="{3A56FBE2-9CC3-3443-A07D-39844274DEEB}"/>
                  </a:ext>
                </a:extLst>
              </p:cNvPr>
              <p:cNvCxnSpPr/>
              <p:nvPr/>
            </p:nvCxnSpPr>
            <p:spPr>
              <a:xfrm flipV="1">
                <a:off x="509320" y="1597687"/>
                <a:ext cx="4308328" cy="1"/>
              </a:xfrm>
              <a:prstGeom prst="line">
                <a:avLst/>
              </a:prstGeom>
              <a:noFill/>
              <a:ln w="19050" cap="flat" cmpd="sng" algn="ctr">
                <a:solidFill>
                  <a:srgbClr val="00AEEF">
                    <a:lumMod val="50000"/>
                  </a:srgbClr>
                </a:solidFill>
                <a:prstDash val="solid"/>
                <a:miter lim="800000"/>
              </a:ln>
              <a:effectLst/>
            </p:spPr>
          </p:cxnSp>
        </p:grpSp>
        <p:grpSp>
          <p:nvGrpSpPr>
            <p:cNvPr id="58" name="Group 61">
              <a:extLst>
                <a:ext uri="{FF2B5EF4-FFF2-40B4-BE49-F238E27FC236}">
                  <a16:creationId xmlns:a16="http://schemas.microsoft.com/office/drawing/2014/main" id="{62219057-9DEA-0C4B-B9B5-62A6222491C8}"/>
                </a:ext>
              </a:extLst>
            </p:cNvPr>
            <p:cNvGrpSpPr/>
            <p:nvPr/>
          </p:nvGrpSpPr>
          <p:grpSpPr>
            <a:xfrm>
              <a:off x="8554987" y="1687634"/>
              <a:ext cx="2621704" cy="369332"/>
              <a:chOff x="509318" y="1278014"/>
              <a:chExt cx="4308330" cy="326230"/>
            </a:xfrm>
          </p:grpSpPr>
          <p:sp>
            <p:nvSpPr>
              <p:cNvPr id="59" name="TextBox 62">
                <a:extLst>
                  <a:ext uri="{FF2B5EF4-FFF2-40B4-BE49-F238E27FC236}">
                    <a16:creationId xmlns:a16="http://schemas.microsoft.com/office/drawing/2014/main" id="{EE59348F-4845-E949-8DC0-7E547760DA1B}"/>
                  </a:ext>
                </a:extLst>
              </p:cNvPr>
              <p:cNvSpPr txBox="1"/>
              <p:nvPr/>
            </p:nvSpPr>
            <p:spPr>
              <a:xfrm>
                <a:off x="509318" y="1278014"/>
                <a:ext cx="4308330" cy="3262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AEEF">
                        <a:lumMod val="50000"/>
                      </a:srgbClr>
                    </a:solidFill>
                    <a:effectLst/>
                    <a:uLnTx/>
                    <a:uFillTx/>
                    <a:latin typeface="Segoe UI"/>
                  </a:rPr>
                  <a:t>Project Closure</a:t>
                </a:r>
              </a:p>
            </p:txBody>
          </p:sp>
          <p:cxnSp>
            <p:nvCxnSpPr>
              <p:cNvPr id="60" name="Straight Connector 63">
                <a:extLst>
                  <a:ext uri="{FF2B5EF4-FFF2-40B4-BE49-F238E27FC236}">
                    <a16:creationId xmlns:a16="http://schemas.microsoft.com/office/drawing/2014/main" id="{6A15E9F2-3A0E-DD4D-A407-E137C91FE30B}"/>
                  </a:ext>
                </a:extLst>
              </p:cNvPr>
              <p:cNvCxnSpPr/>
              <p:nvPr/>
            </p:nvCxnSpPr>
            <p:spPr>
              <a:xfrm flipV="1">
                <a:off x="509320" y="1597687"/>
                <a:ext cx="4308328" cy="1"/>
              </a:xfrm>
              <a:prstGeom prst="line">
                <a:avLst/>
              </a:prstGeom>
              <a:noFill/>
              <a:ln w="19050" cap="flat" cmpd="sng" algn="ctr">
                <a:solidFill>
                  <a:srgbClr val="00AEEF">
                    <a:lumMod val="50000"/>
                  </a:srgbClr>
                </a:solidFill>
                <a:prstDash val="solid"/>
                <a:miter lim="800000"/>
              </a:ln>
              <a:effectLst/>
            </p:spPr>
          </p:cxnSp>
        </p:grpSp>
      </p:grpSp>
    </p:spTree>
    <p:extLst>
      <p:ext uri="{BB962C8B-B14F-4D97-AF65-F5344CB8AC3E}">
        <p14:creationId xmlns:p14="http://schemas.microsoft.com/office/powerpoint/2010/main" val="103500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1B2D2-6A2A-4AD6-91B2-E1AC82304DDA}"/>
              </a:ext>
            </a:extLst>
          </p:cNvPr>
          <p:cNvSpPr>
            <a:spLocks noGrp="1"/>
          </p:cNvSpPr>
          <p:nvPr>
            <p:ph type="title"/>
          </p:nvPr>
        </p:nvSpPr>
        <p:spPr/>
        <p:txBody>
          <a:bodyPr/>
          <a:lstStyle/>
          <a:p>
            <a:r>
              <a:rPr lang="en-US" dirty="0"/>
              <a:t>Figure 3. Network Domains</a:t>
            </a:r>
          </a:p>
        </p:txBody>
      </p:sp>
      <p:grpSp>
        <p:nvGrpSpPr>
          <p:cNvPr id="154" name="Group 153">
            <a:extLst>
              <a:ext uri="{FF2B5EF4-FFF2-40B4-BE49-F238E27FC236}">
                <a16:creationId xmlns:a16="http://schemas.microsoft.com/office/drawing/2014/main" id="{FF50F5E3-C694-B34C-9CD6-667028C980BB}"/>
              </a:ext>
            </a:extLst>
          </p:cNvPr>
          <p:cNvGrpSpPr/>
          <p:nvPr/>
        </p:nvGrpSpPr>
        <p:grpSpPr>
          <a:xfrm>
            <a:off x="785191" y="531710"/>
            <a:ext cx="8074259" cy="5572256"/>
            <a:chOff x="500951" y="122229"/>
            <a:chExt cx="12165186" cy="8483645"/>
          </a:xfrm>
        </p:grpSpPr>
        <p:sp>
          <p:nvSpPr>
            <p:cNvPr id="155" name="Rectangle 154">
              <a:extLst>
                <a:ext uri="{FF2B5EF4-FFF2-40B4-BE49-F238E27FC236}">
                  <a16:creationId xmlns:a16="http://schemas.microsoft.com/office/drawing/2014/main" id="{B236F75B-40CA-0E4B-B64A-AC8627CE4378}"/>
                </a:ext>
              </a:extLst>
            </p:cNvPr>
            <p:cNvSpPr/>
            <p:nvPr/>
          </p:nvSpPr>
          <p:spPr>
            <a:xfrm>
              <a:off x="1504031" y="1036629"/>
              <a:ext cx="11162106" cy="4746196"/>
            </a:xfrm>
            <a:prstGeom prst="rect">
              <a:avLst/>
            </a:prstGeom>
            <a:solidFill>
              <a:schemeClr val="bg2"/>
            </a:solidFill>
            <a:ln>
              <a:noFill/>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172" name="Rectangle 171">
              <a:extLst>
                <a:ext uri="{FF2B5EF4-FFF2-40B4-BE49-F238E27FC236}">
                  <a16:creationId xmlns:a16="http://schemas.microsoft.com/office/drawing/2014/main" id="{1904698E-1FB2-0E4A-B1E6-C46D1CF42A58}"/>
                </a:ext>
              </a:extLst>
            </p:cNvPr>
            <p:cNvSpPr/>
            <p:nvPr/>
          </p:nvSpPr>
          <p:spPr>
            <a:xfrm>
              <a:off x="1568073" y="1137124"/>
              <a:ext cx="4146680" cy="4493301"/>
            </a:xfrm>
            <a:prstGeom prst="rect">
              <a:avLst/>
            </a:prstGeom>
            <a:noFill/>
            <a:ln>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pic>
          <p:nvPicPr>
            <p:cNvPr id="173" name="Graphic 172" descr="Cell Tower">
              <a:extLst>
                <a:ext uri="{FF2B5EF4-FFF2-40B4-BE49-F238E27FC236}">
                  <a16:creationId xmlns:a16="http://schemas.microsoft.com/office/drawing/2014/main" id="{08CA5B01-1B47-B04D-937C-01E40695CE1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32510" y="122229"/>
              <a:ext cx="914400" cy="914400"/>
            </a:xfrm>
            <a:prstGeom prst="rect">
              <a:avLst/>
            </a:prstGeom>
          </p:spPr>
        </p:pic>
        <p:pic>
          <p:nvPicPr>
            <p:cNvPr id="174" name="Graphic 173" descr="Cell Tower">
              <a:extLst>
                <a:ext uri="{FF2B5EF4-FFF2-40B4-BE49-F238E27FC236}">
                  <a16:creationId xmlns:a16="http://schemas.microsoft.com/office/drawing/2014/main" id="{CADBAF43-9A3A-484F-9077-347DCE77A10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0657" y="4396669"/>
              <a:ext cx="914400" cy="914400"/>
            </a:xfrm>
            <a:prstGeom prst="rect">
              <a:avLst/>
            </a:prstGeom>
          </p:spPr>
        </p:pic>
        <p:pic>
          <p:nvPicPr>
            <p:cNvPr id="175" name="Graphic 174" descr="Cell Tower">
              <a:extLst>
                <a:ext uri="{FF2B5EF4-FFF2-40B4-BE49-F238E27FC236}">
                  <a16:creationId xmlns:a16="http://schemas.microsoft.com/office/drawing/2014/main" id="{2F8AC0FF-15B1-5647-90AB-AF82272258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0951" y="1796150"/>
              <a:ext cx="914400" cy="914400"/>
            </a:xfrm>
            <a:prstGeom prst="rect">
              <a:avLst/>
            </a:prstGeom>
          </p:spPr>
        </p:pic>
        <p:pic>
          <p:nvPicPr>
            <p:cNvPr id="176" name="Graphic 175" descr="Home">
              <a:extLst>
                <a:ext uri="{FF2B5EF4-FFF2-40B4-BE49-F238E27FC236}">
                  <a16:creationId xmlns:a16="http://schemas.microsoft.com/office/drawing/2014/main" id="{8DD8DA7A-F103-BE4E-B938-F4AE6F66B1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1206" y="6572566"/>
              <a:ext cx="640995" cy="640995"/>
            </a:xfrm>
            <a:prstGeom prst="rect">
              <a:avLst/>
            </a:prstGeom>
          </p:spPr>
        </p:pic>
        <p:pic>
          <p:nvPicPr>
            <p:cNvPr id="177" name="Graphic 176" descr="Branching diagram">
              <a:extLst>
                <a:ext uri="{FF2B5EF4-FFF2-40B4-BE49-F238E27FC236}">
                  <a16:creationId xmlns:a16="http://schemas.microsoft.com/office/drawing/2014/main" id="{89D07127-BBA5-9D4D-9412-2C0AEEAF99B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2898863" y="5906112"/>
              <a:ext cx="914400" cy="914400"/>
            </a:xfrm>
            <a:prstGeom prst="rect">
              <a:avLst/>
            </a:prstGeom>
          </p:spPr>
        </p:pic>
        <p:pic>
          <p:nvPicPr>
            <p:cNvPr id="178" name="Graphic 177" descr="Home">
              <a:extLst>
                <a:ext uri="{FF2B5EF4-FFF2-40B4-BE49-F238E27FC236}">
                  <a16:creationId xmlns:a16="http://schemas.microsoft.com/office/drawing/2014/main" id="{1BA4B7CC-510C-D346-BCB2-C7860D5CA5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9371" y="7958518"/>
              <a:ext cx="640995" cy="640995"/>
            </a:xfrm>
            <a:prstGeom prst="rect">
              <a:avLst/>
            </a:prstGeom>
          </p:spPr>
        </p:pic>
        <p:pic>
          <p:nvPicPr>
            <p:cNvPr id="179" name="Graphic 178" descr="Home">
              <a:extLst>
                <a:ext uri="{FF2B5EF4-FFF2-40B4-BE49-F238E27FC236}">
                  <a16:creationId xmlns:a16="http://schemas.microsoft.com/office/drawing/2014/main" id="{28FE251C-E8E4-5245-B1C2-BEF6D60DA8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91085" y="6938326"/>
              <a:ext cx="640995" cy="640995"/>
            </a:xfrm>
            <a:prstGeom prst="rect">
              <a:avLst/>
            </a:prstGeom>
          </p:spPr>
        </p:pic>
        <p:pic>
          <p:nvPicPr>
            <p:cNvPr id="181" name="Graphic 180" descr="Home">
              <a:extLst>
                <a:ext uri="{FF2B5EF4-FFF2-40B4-BE49-F238E27FC236}">
                  <a16:creationId xmlns:a16="http://schemas.microsoft.com/office/drawing/2014/main" id="{05C1777B-F3D7-B942-8EF1-61875A7D1B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4792" y="7486966"/>
              <a:ext cx="640995" cy="640995"/>
            </a:xfrm>
            <a:prstGeom prst="rect">
              <a:avLst/>
            </a:prstGeom>
          </p:spPr>
        </p:pic>
        <p:cxnSp>
          <p:nvCxnSpPr>
            <p:cNvPr id="182" name="Connector: Elbow 65">
              <a:extLst>
                <a:ext uri="{FF2B5EF4-FFF2-40B4-BE49-F238E27FC236}">
                  <a16:creationId xmlns:a16="http://schemas.microsoft.com/office/drawing/2014/main" id="{55D7F3C3-8102-1D40-95E1-AE6B4B0EAECB}"/>
                </a:ext>
              </a:extLst>
            </p:cNvPr>
            <p:cNvCxnSpPr>
              <a:cxnSpLocks noChangeAspect="1"/>
              <a:stCxn id="176" idx="3"/>
              <a:endCxn id="177" idx="0"/>
            </p:cNvCxnSpPr>
            <p:nvPr/>
          </p:nvCxnSpPr>
          <p:spPr>
            <a:xfrm flipV="1">
              <a:off x="2442201" y="6820512"/>
              <a:ext cx="913862" cy="72552"/>
            </a:xfrm>
            <a:prstGeom prst="bentConnector2">
              <a:avLst/>
            </a:prstGeom>
            <a:ln>
              <a:prstDash val="lgDash"/>
            </a:ln>
          </p:spPr>
          <p:style>
            <a:lnRef idx="1">
              <a:schemeClr val="dk1"/>
            </a:lnRef>
            <a:fillRef idx="0">
              <a:schemeClr val="dk1"/>
            </a:fillRef>
            <a:effectRef idx="0">
              <a:schemeClr val="dk1"/>
            </a:effectRef>
            <a:fontRef idx="minor">
              <a:schemeClr val="tx1"/>
            </a:fontRef>
          </p:style>
        </p:cxnSp>
        <p:cxnSp>
          <p:nvCxnSpPr>
            <p:cNvPr id="183" name="Connector: Elbow 69">
              <a:extLst>
                <a:ext uri="{FF2B5EF4-FFF2-40B4-BE49-F238E27FC236}">
                  <a16:creationId xmlns:a16="http://schemas.microsoft.com/office/drawing/2014/main" id="{2EFCCD3A-E4A4-B040-8AF1-63B1762BCA6F}"/>
                </a:ext>
              </a:extLst>
            </p:cNvPr>
            <p:cNvCxnSpPr>
              <a:cxnSpLocks noChangeAspect="1"/>
              <a:stCxn id="177" idx="0"/>
              <a:endCxn id="179" idx="1"/>
            </p:cNvCxnSpPr>
            <p:nvPr/>
          </p:nvCxnSpPr>
          <p:spPr>
            <a:xfrm rot="16200000" flipH="1">
              <a:off x="3504418" y="6672157"/>
              <a:ext cx="438312" cy="735022"/>
            </a:xfrm>
            <a:prstGeom prst="bentConnector2">
              <a:avLst/>
            </a:prstGeom>
            <a:ln>
              <a:prstDash val="lgDash"/>
            </a:ln>
          </p:spPr>
          <p:style>
            <a:lnRef idx="1">
              <a:schemeClr val="dk1"/>
            </a:lnRef>
            <a:fillRef idx="0">
              <a:schemeClr val="dk1"/>
            </a:fillRef>
            <a:effectRef idx="0">
              <a:schemeClr val="dk1"/>
            </a:effectRef>
            <a:fontRef idx="minor">
              <a:schemeClr val="tx1"/>
            </a:fontRef>
          </p:style>
        </p:cxnSp>
        <p:cxnSp>
          <p:nvCxnSpPr>
            <p:cNvPr id="184" name="Connector: Elbow 72">
              <a:extLst>
                <a:ext uri="{FF2B5EF4-FFF2-40B4-BE49-F238E27FC236}">
                  <a16:creationId xmlns:a16="http://schemas.microsoft.com/office/drawing/2014/main" id="{D1DF5B1F-F0B2-3E4B-B186-C556C419A23E}"/>
                </a:ext>
              </a:extLst>
            </p:cNvPr>
            <p:cNvCxnSpPr>
              <a:cxnSpLocks noChangeAspect="1"/>
              <a:stCxn id="178" idx="1"/>
              <a:endCxn id="177" idx="0"/>
            </p:cNvCxnSpPr>
            <p:nvPr/>
          </p:nvCxnSpPr>
          <p:spPr>
            <a:xfrm rot="10800000">
              <a:off x="3356063" y="6820512"/>
              <a:ext cx="1053308" cy="1458504"/>
            </a:xfrm>
            <a:prstGeom prst="bentConnector2">
              <a:avLst/>
            </a:prstGeom>
            <a:ln>
              <a:prstDash val="lgDash"/>
            </a:ln>
          </p:spPr>
          <p:style>
            <a:lnRef idx="1">
              <a:schemeClr val="dk1"/>
            </a:lnRef>
            <a:fillRef idx="0">
              <a:schemeClr val="dk1"/>
            </a:fillRef>
            <a:effectRef idx="0">
              <a:schemeClr val="dk1"/>
            </a:effectRef>
            <a:fontRef idx="minor">
              <a:schemeClr val="tx1"/>
            </a:fontRef>
          </p:style>
        </p:cxnSp>
        <p:cxnSp>
          <p:nvCxnSpPr>
            <p:cNvPr id="185" name="Connector: Elbow 75">
              <a:extLst>
                <a:ext uri="{FF2B5EF4-FFF2-40B4-BE49-F238E27FC236}">
                  <a16:creationId xmlns:a16="http://schemas.microsoft.com/office/drawing/2014/main" id="{77DAA320-2DB5-3546-9AF2-BC344BFD1DDA}"/>
                </a:ext>
              </a:extLst>
            </p:cNvPr>
            <p:cNvCxnSpPr>
              <a:cxnSpLocks noChangeAspect="1"/>
              <a:stCxn id="181" idx="3"/>
              <a:endCxn id="177" idx="0"/>
            </p:cNvCxnSpPr>
            <p:nvPr/>
          </p:nvCxnSpPr>
          <p:spPr>
            <a:xfrm flipV="1">
              <a:off x="2405787" y="6820512"/>
              <a:ext cx="950276" cy="986952"/>
            </a:xfrm>
            <a:prstGeom prst="bentConnector2">
              <a:avLst/>
            </a:prstGeom>
            <a:ln>
              <a:prstDash val="lgDash"/>
            </a:ln>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80F732B6-86CA-2B42-8D3F-8FD7EDBF3159}"/>
                </a:ext>
              </a:extLst>
            </p:cNvPr>
            <p:cNvCxnSpPr>
              <a:stCxn id="174" idx="3"/>
              <a:endCxn id="209" idx="1"/>
            </p:cNvCxnSpPr>
            <p:nvPr/>
          </p:nvCxnSpPr>
          <p:spPr>
            <a:xfrm flipV="1">
              <a:off x="1565057" y="3772393"/>
              <a:ext cx="3903307" cy="1081476"/>
            </a:xfrm>
            <a:prstGeom prst="line">
              <a:avLst/>
            </a:prstGeom>
            <a:ln w="50800" cmpd="sng"/>
          </p:spPr>
          <p:style>
            <a:lnRef idx="3">
              <a:schemeClr val="dk1"/>
            </a:lnRef>
            <a:fillRef idx="0">
              <a:schemeClr val="dk1"/>
            </a:fillRef>
            <a:effectRef idx="2">
              <a:schemeClr val="dk1"/>
            </a:effectRef>
            <a:fontRef idx="minor">
              <a:schemeClr val="tx1"/>
            </a:fontRef>
          </p:style>
        </p:cxnSp>
        <p:cxnSp>
          <p:nvCxnSpPr>
            <p:cNvPr id="189" name="Straight Connector 188">
              <a:extLst>
                <a:ext uri="{FF2B5EF4-FFF2-40B4-BE49-F238E27FC236}">
                  <a16:creationId xmlns:a16="http://schemas.microsoft.com/office/drawing/2014/main" id="{030C4E64-08FA-2D42-9172-80055EA3587D}"/>
                </a:ext>
              </a:extLst>
            </p:cNvPr>
            <p:cNvCxnSpPr>
              <a:cxnSpLocks/>
              <a:stCxn id="175" idx="3"/>
              <a:endCxn id="209" idx="1"/>
            </p:cNvCxnSpPr>
            <p:nvPr/>
          </p:nvCxnSpPr>
          <p:spPr>
            <a:xfrm>
              <a:off x="1415351" y="2253350"/>
              <a:ext cx="4053013" cy="1519043"/>
            </a:xfrm>
            <a:prstGeom prst="line">
              <a:avLst/>
            </a:prstGeom>
            <a:ln w="50800" cmpd="sng"/>
          </p:spPr>
          <p:style>
            <a:lnRef idx="3">
              <a:schemeClr val="dk1"/>
            </a:lnRef>
            <a:fillRef idx="0">
              <a:schemeClr val="dk1"/>
            </a:fillRef>
            <a:effectRef idx="2">
              <a:schemeClr val="dk1"/>
            </a:effectRef>
            <a:fontRef idx="minor">
              <a:schemeClr val="tx1"/>
            </a:fontRef>
          </p:style>
        </p:cxnSp>
        <p:cxnSp>
          <p:nvCxnSpPr>
            <p:cNvPr id="190" name="Straight Connector 189">
              <a:extLst>
                <a:ext uri="{FF2B5EF4-FFF2-40B4-BE49-F238E27FC236}">
                  <a16:creationId xmlns:a16="http://schemas.microsoft.com/office/drawing/2014/main" id="{1450F6C5-E3E7-6942-AC6F-1A58CBF3E2BA}"/>
                </a:ext>
              </a:extLst>
            </p:cNvPr>
            <p:cNvCxnSpPr>
              <a:cxnSpLocks/>
              <a:stCxn id="209" idx="1"/>
              <a:endCxn id="173" idx="2"/>
            </p:cNvCxnSpPr>
            <p:nvPr/>
          </p:nvCxnSpPr>
          <p:spPr>
            <a:xfrm flipH="1" flipV="1">
              <a:off x="3789710" y="1036629"/>
              <a:ext cx="1678654" cy="2735764"/>
            </a:xfrm>
            <a:prstGeom prst="line">
              <a:avLst/>
            </a:prstGeom>
            <a:ln w="50800" cmpd="sng"/>
          </p:spPr>
          <p:style>
            <a:lnRef idx="3">
              <a:schemeClr val="dk1"/>
            </a:lnRef>
            <a:fillRef idx="0">
              <a:schemeClr val="dk1"/>
            </a:fillRef>
            <a:effectRef idx="2">
              <a:schemeClr val="dk1"/>
            </a:effectRef>
            <a:fontRef idx="minor">
              <a:schemeClr val="tx1"/>
            </a:fontRef>
          </p:style>
        </p:cxnSp>
        <p:pic>
          <p:nvPicPr>
            <p:cNvPr id="191" name="Graphic 190" descr="Badge Follow">
              <a:extLst>
                <a:ext uri="{FF2B5EF4-FFF2-40B4-BE49-F238E27FC236}">
                  <a16:creationId xmlns:a16="http://schemas.microsoft.com/office/drawing/2014/main" id="{53F14E74-AFF2-0548-9E75-E0A0978F35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76039" y="3696934"/>
              <a:ext cx="914400" cy="914400"/>
            </a:xfrm>
            <a:prstGeom prst="rect">
              <a:avLst/>
            </a:prstGeom>
          </p:spPr>
        </p:pic>
        <p:cxnSp>
          <p:nvCxnSpPr>
            <p:cNvPr id="192" name="Straight Connector 191">
              <a:extLst>
                <a:ext uri="{FF2B5EF4-FFF2-40B4-BE49-F238E27FC236}">
                  <a16:creationId xmlns:a16="http://schemas.microsoft.com/office/drawing/2014/main" id="{F565A127-B5BD-5145-95F2-29819F5F5D0A}"/>
                </a:ext>
              </a:extLst>
            </p:cNvPr>
            <p:cNvCxnSpPr>
              <a:cxnSpLocks/>
              <a:stCxn id="191" idx="1"/>
              <a:endCxn id="209" idx="3"/>
            </p:cNvCxnSpPr>
            <p:nvPr/>
          </p:nvCxnSpPr>
          <p:spPr>
            <a:xfrm flipH="1" flipV="1">
              <a:off x="6382764" y="3772393"/>
              <a:ext cx="2093275" cy="381741"/>
            </a:xfrm>
            <a:prstGeom prst="line">
              <a:avLst/>
            </a:prstGeom>
            <a:ln w="127000" cmpd="dbl">
              <a:solidFill>
                <a:srgbClr val="C00000"/>
              </a:solidFill>
              <a:prstDash val="solid"/>
            </a:ln>
          </p:spPr>
          <p:style>
            <a:lnRef idx="3">
              <a:schemeClr val="dk1"/>
            </a:lnRef>
            <a:fillRef idx="0">
              <a:schemeClr val="dk1"/>
            </a:fillRef>
            <a:effectRef idx="2">
              <a:schemeClr val="dk1"/>
            </a:effectRef>
            <a:fontRef idx="minor">
              <a:schemeClr val="tx1"/>
            </a:fontRef>
          </p:style>
        </p:cxnSp>
        <p:cxnSp>
          <p:nvCxnSpPr>
            <p:cNvPr id="193" name="Straight Connector 192">
              <a:extLst>
                <a:ext uri="{FF2B5EF4-FFF2-40B4-BE49-F238E27FC236}">
                  <a16:creationId xmlns:a16="http://schemas.microsoft.com/office/drawing/2014/main" id="{8F00242D-4B14-7440-AEB4-A53197542953}"/>
                </a:ext>
              </a:extLst>
            </p:cNvPr>
            <p:cNvCxnSpPr>
              <a:cxnSpLocks/>
              <a:stCxn id="214" idx="1"/>
              <a:endCxn id="191" idx="3"/>
            </p:cNvCxnSpPr>
            <p:nvPr/>
          </p:nvCxnSpPr>
          <p:spPr>
            <a:xfrm flipH="1">
              <a:off x="9390439" y="3973934"/>
              <a:ext cx="2109876" cy="180200"/>
            </a:xfrm>
            <a:prstGeom prst="line">
              <a:avLst/>
            </a:prstGeom>
            <a:ln w="127000" cmpd="dbl">
              <a:solidFill>
                <a:srgbClr val="C00000"/>
              </a:solidFill>
              <a:prstDash val="solid"/>
            </a:ln>
          </p:spPr>
          <p:style>
            <a:lnRef idx="3">
              <a:schemeClr val="dk1"/>
            </a:lnRef>
            <a:fillRef idx="0">
              <a:schemeClr val="dk1"/>
            </a:fillRef>
            <a:effectRef idx="2">
              <a:schemeClr val="dk1"/>
            </a:effectRef>
            <a:fontRef idx="minor">
              <a:schemeClr val="tx1"/>
            </a:fontRef>
          </p:style>
        </p:cxnSp>
        <p:sp>
          <p:nvSpPr>
            <p:cNvPr id="194" name="Rectangle 193">
              <a:extLst>
                <a:ext uri="{FF2B5EF4-FFF2-40B4-BE49-F238E27FC236}">
                  <a16:creationId xmlns:a16="http://schemas.microsoft.com/office/drawing/2014/main" id="{6940CD2E-BADA-254A-8D04-78AA1DBC3F20}"/>
                </a:ext>
              </a:extLst>
            </p:cNvPr>
            <p:cNvSpPr/>
            <p:nvPr/>
          </p:nvSpPr>
          <p:spPr>
            <a:xfrm>
              <a:off x="1548677" y="5906113"/>
              <a:ext cx="4169664" cy="2693400"/>
            </a:xfrm>
            <a:prstGeom prst="rect">
              <a:avLst/>
            </a:prstGeom>
            <a:noFill/>
            <a:ln>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195" name="TextBox 194">
              <a:extLst>
                <a:ext uri="{FF2B5EF4-FFF2-40B4-BE49-F238E27FC236}">
                  <a16:creationId xmlns:a16="http://schemas.microsoft.com/office/drawing/2014/main" id="{79DF370A-323B-D343-B7B6-7D5E3F312BF7}"/>
                </a:ext>
              </a:extLst>
            </p:cNvPr>
            <p:cNvSpPr txBox="1"/>
            <p:nvPr/>
          </p:nvSpPr>
          <p:spPr>
            <a:xfrm>
              <a:off x="1548677" y="8184149"/>
              <a:ext cx="1783833" cy="421725"/>
            </a:xfrm>
            <a:prstGeom prst="rect">
              <a:avLst/>
            </a:prstGeom>
            <a:noFill/>
          </p:spPr>
          <p:txBody>
            <a:bodyPr wrap="square" rtlCol="0">
              <a:spAutoFit/>
            </a:bodyPr>
            <a:lstStyle/>
            <a:p>
              <a:pPr algn="ctr"/>
              <a:r>
                <a:rPr lang="en-US" sz="1200" b="1" dirty="0"/>
                <a:t>Fix Local Access</a:t>
              </a:r>
            </a:p>
          </p:txBody>
        </p:sp>
        <p:sp>
          <p:nvSpPr>
            <p:cNvPr id="196" name="TextBox 195">
              <a:extLst>
                <a:ext uri="{FF2B5EF4-FFF2-40B4-BE49-F238E27FC236}">
                  <a16:creationId xmlns:a16="http://schemas.microsoft.com/office/drawing/2014/main" id="{F735CBFD-47C5-FC41-ADB9-5052ECCFE893}"/>
                </a:ext>
              </a:extLst>
            </p:cNvPr>
            <p:cNvSpPr txBox="1"/>
            <p:nvPr/>
          </p:nvSpPr>
          <p:spPr>
            <a:xfrm>
              <a:off x="2070766" y="3198932"/>
              <a:ext cx="1221455" cy="702875"/>
            </a:xfrm>
            <a:prstGeom prst="rect">
              <a:avLst/>
            </a:prstGeom>
            <a:noFill/>
          </p:spPr>
          <p:txBody>
            <a:bodyPr wrap="square" rtlCol="0">
              <a:spAutoFit/>
            </a:bodyPr>
            <a:lstStyle/>
            <a:p>
              <a:pPr algn="ctr"/>
              <a:r>
                <a:rPr lang="en-US" sz="1200" dirty="0"/>
                <a:t>Backhaul Links</a:t>
              </a:r>
            </a:p>
          </p:txBody>
        </p:sp>
        <p:cxnSp>
          <p:nvCxnSpPr>
            <p:cNvPr id="197" name="Straight Connector 196">
              <a:extLst>
                <a:ext uri="{FF2B5EF4-FFF2-40B4-BE49-F238E27FC236}">
                  <a16:creationId xmlns:a16="http://schemas.microsoft.com/office/drawing/2014/main" id="{39DE8916-9F36-2540-B63B-768946C89287}"/>
                </a:ext>
              </a:extLst>
            </p:cNvPr>
            <p:cNvCxnSpPr>
              <a:cxnSpLocks/>
              <a:endCxn id="203" idx="1"/>
            </p:cNvCxnSpPr>
            <p:nvPr/>
          </p:nvCxnSpPr>
          <p:spPr>
            <a:xfrm flipV="1">
              <a:off x="7448571" y="2944842"/>
              <a:ext cx="1131493" cy="961956"/>
            </a:xfrm>
            <a:prstGeom prst="line">
              <a:avLst/>
            </a:prstGeom>
            <a:ln w="6350" cmpd="sng">
              <a:solidFill>
                <a:srgbClr val="C00000"/>
              </a:solidFill>
              <a:prstDash val="lgDash"/>
            </a:ln>
          </p:spPr>
          <p:style>
            <a:lnRef idx="3">
              <a:schemeClr val="dk1"/>
            </a:lnRef>
            <a:fillRef idx="0">
              <a:schemeClr val="dk1"/>
            </a:fillRef>
            <a:effectRef idx="2">
              <a:schemeClr val="dk1"/>
            </a:effectRef>
            <a:fontRef idx="minor">
              <a:schemeClr val="tx1"/>
            </a:fontRef>
          </p:style>
        </p:cxnSp>
        <p:cxnSp>
          <p:nvCxnSpPr>
            <p:cNvPr id="198" name="Straight Connector 197">
              <a:extLst>
                <a:ext uri="{FF2B5EF4-FFF2-40B4-BE49-F238E27FC236}">
                  <a16:creationId xmlns:a16="http://schemas.microsoft.com/office/drawing/2014/main" id="{D62CFF24-EAA6-C34C-BFB3-F66D8F4678E5}"/>
                </a:ext>
              </a:extLst>
            </p:cNvPr>
            <p:cNvCxnSpPr>
              <a:cxnSpLocks/>
              <a:endCxn id="196" idx="3"/>
            </p:cNvCxnSpPr>
            <p:nvPr/>
          </p:nvCxnSpPr>
          <p:spPr>
            <a:xfrm flipH="1">
              <a:off x="3292220" y="2912696"/>
              <a:ext cx="1677636" cy="637674"/>
            </a:xfrm>
            <a:prstGeom prst="line">
              <a:avLst/>
            </a:prstGeom>
            <a:ln w="6350" cmpd="sng">
              <a:solidFill>
                <a:schemeClr val="bg1">
                  <a:lumMod val="65000"/>
                </a:schemeClr>
              </a:solidFill>
              <a:prstDash val="lgDash"/>
            </a:ln>
          </p:spPr>
          <p:style>
            <a:lnRef idx="3">
              <a:schemeClr val="dk1"/>
            </a:lnRef>
            <a:fillRef idx="0">
              <a:schemeClr val="dk1"/>
            </a:fillRef>
            <a:effectRef idx="2">
              <a:schemeClr val="dk1"/>
            </a:effectRef>
            <a:fontRef idx="minor">
              <a:schemeClr val="tx1"/>
            </a:fontRef>
          </p:style>
        </p:cxnSp>
        <p:cxnSp>
          <p:nvCxnSpPr>
            <p:cNvPr id="199" name="Straight Connector 198">
              <a:extLst>
                <a:ext uri="{FF2B5EF4-FFF2-40B4-BE49-F238E27FC236}">
                  <a16:creationId xmlns:a16="http://schemas.microsoft.com/office/drawing/2014/main" id="{3667E661-0C0C-2E49-9CD9-E0F365DDC34F}"/>
                </a:ext>
              </a:extLst>
            </p:cNvPr>
            <p:cNvCxnSpPr>
              <a:cxnSpLocks/>
              <a:endCxn id="196" idx="3"/>
            </p:cNvCxnSpPr>
            <p:nvPr/>
          </p:nvCxnSpPr>
          <p:spPr>
            <a:xfrm flipH="1" flipV="1">
              <a:off x="3292220" y="3550370"/>
              <a:ext cx="130480" cy="735487"/>
            </a:xfrm>
            <a:prstGeom prst="line">
              <a:avLst/>
            </a:prstGeom>
            <a:ln w="6350" cmpd="sng">
              <a:solidFill>
                <a:schemeClr val="bg1">
                  <a:lumMod val="65000"/>
                </a:schemeClr>
              </a:solidFill>
              <a:prstDash val="lgDash"/>
            </a:ln>
          </p:spPr>
          <p:style>
            <a:lnRef idx="3">
              <a:schemeClr val="dk1"/>
            </a:lnRef>
            <a:fillRef idx="0">
              <a:schemeClr val="dk1"/>
            </a:fillRef>
            <a:effectRef idx="2">
              <a:schemeClr val="dk1"/>
            </a:effectRef>
            <a:fontRef idx="minor">
              <a:schemeClr val="tx1"/>
            </a:fontRef>
          </p:style>
        </p:cxnSp>
        <p:cxnSp>
          <p:nvCxnSpPr>
            <p:cNvPr id="200" name="Straight Connector 199">
              <a:extLst>
                <a:ext uri="{FF2B5EF4-FFF2-40B4-BE49-F238E27FC236}">
                  <a16:creationId xmlns:a16="http://schemas.microsoft.com/office/drawing/2014/main" id="{9D440CF9-3145-9848-AB20-18AB164978DF}"/>
                </a:ext>
              </a:extLst>
            </p:cNvPr>
            <p:cNvCxnSpPr>
              <a:cxnSpLocks/>
              <a:stCxn id="194" idx="0"/>
              <a:endCxn id="209" idx="1"/>
            </p:cNvCxnSpPr>
            <p:nvPr/>
          </p:nvCxnSpPr>
          <p:spPr>
            <a:xfrm flipV="1">
              <a:off x="3633509" y="3772393"/>
              <a:ext cx="1834855" cy="2133720"/>
            </a:xfrm>
            <a:prstGeom prst="line">
              <a:avLst/>
            </a:prstGeom>
            <a:ln w="50800" cmpd="sng"/>
          </p:spPr>
          <p:style>
            <a:lnRef idx="3">
              <a:schemeClr val="dk1"/>
            </a:lnRef>
            <a:fillRef idx="0">
              <a:schemeClr val="dk1"/>
            </a:fillRef>
            <a:effectRef idx="2">
              <a:schemeClr val="dk1"/>
            </a:effectRef>
            <a:fontRef idx="minor">
              <a:schemeClr val="tx1"/>
            </a:fontRef>
          </p:style>
        </p:cxnSp>
        <p:cxnSp>
          <p:nvCxnSpPr>
            <p:cNvPr id="201" name="Straight Connector 200">
              <a:extLst>
                <a:ext uri="{FF2B5EF4-FFF2-40B4-BE49-F238E27FC236}">
                  <a16:creationId xmlns:a16="http://schemas.microsoft.com/office/drawing/2014/main" id="{450F44AE-1591-DC41-A5EE-E3E39C1BA82B}"/>
                </a:ext>
              </a:extLst>
            </p:cNvPr>
            <p:cNvCxnSpPr>
              <a:cxnSpLocks/>
              <a:endCxn id="196" idx="3"/>
            </p:cNvCxnSpPr>
            <p:nvPr/>
          </p:nvCxnSpPr>
          <p:spPr>
            <a:xfrm flipH="1" flipV="1">
              <a:off x="3292220" y="3550370"/>
              <a:ext cx="1221455" cy="1240478"/>
            </a:xfrm>
            <a:prstGeom prst="line">
              <a:avLst/>
            </a:prstGeom>
            <a:ln w="6350" cmpd="sng">
              <a:solidFill>
                <a:schemeClr val="bg1">
                  <a:lumMod val="65000"/>
                </a:schemeClr>
              </a:solidFill>
              <a:prstDash val="lgDash"/>
            </a:ln>
          </p:spPr>
          <p:style>
            <a:lnRef idx="3">
              <a:schemeClr val="dk1"/>
            </a:lnRef>
            <a:fillRef idx="0">
              <a:schemeClr val="dk1"/>
            </a:fillRef>
            <a:effectRef idx="2">
              <a:schemeClr val="dk1"/>
            </a:effectRef>
            <a:fontRef idx="minor">
              <a:schemeClr val="tx1"/>
            </a:fontRef>
          </p:style>
        </p:cxnSp>
        <p:cxnSp>
          <p:nvCxnSpPr>
            <p:cNvPr id="202" name="Straight Connector 201">
              <a:extLst>
                <a:ext uri="{FF2B5EF4-FFF2-40B4-BE49-F238E27FC236}">
                  <a16:creationId xmlns:a16="http://schemas.microsoft.com/office/drawing/2014/main" id="{7875DC97-E009-F349-A570-48C5FA9F39C3}"/>
                </a:ext>
              </a:extLst>
            </p:cNvPr>
            <p:cNvCxnSpPr>
              <a:cxnSpLocks/>
              <a:endCxn id="196" idx="3"/>
            </p:cNvCxnSpPr>
            <p:nvPr/>
          </p:nvCxnSpPr>
          <p:spPr>
            <a:xfrm flipH="1">
              <a:off x="3292220" y="3081506"/>
              <a:ext cx="45116" cy="468864"/>
            </a:xfrm>
            <a:prstGeom prst="line">
              <a:avLst/>
            </a:prstGeom>
            <a:ln w="6350" cmpd="sng">
              <a:solidFill>
                <a:schemeClr val="bg1">
                  <a:lumMod val="65000"/>
                </a:schemeClr>
              </a:solidFill>
              <a:prstDash val="lgDash"/>
            </a:ln>
          </p:spPr>
          <p:style>
            <a:lnRef idx="3">
              <a:schemeClr val="dk1"/>
            </a:lnRef>
            <a:fillRef idx="0">
              <a:schemeClr val="dk1"/>
            </a:fillRef>
            <a:effectRef idx="2">
              <a:schemeClr val="dk1"/>
            </a:effectRef>
            <a:fontRef idx="minor">
              <a:schemeClr val="tx1"/>
            </a:fontRef>
          </p:style>
        </p:cxnSp>
        <p:sp>
          <p:nvSpPr>
            <p:cNvPr id="203" name="TextBox 202">
              <a:extLst>
                <a:ext uri="{FF2B5EF4-FFF2-40B4-BE49-F238E27FC236}">
                  <a16:creationId xmlns:a16="http://schemas.microsoft.com/office/drawing/2014/main" id="{C1B0FBA5-7833-6543-999E-29A2BB0C2BAC}"/>
                </a:ext>
              </a:extLst>
            </p:cNvPr>
            <p:cNvSpPr txBox="1"/>
            <p:nvPr/>
          </p:nvSpPr>
          <p:spPr>
            <a:xfrm>
              <a:off x="8580064" y="2593403"/>
              <a:ext cx="1221455" cy="702875"/>
            </a:xfrm>
            <a:prstGeom prst="rect">
              <a:avLst/>
            </a:prstGeom>
            <a:noFill/>
          </p:spPr>
          <p:txBody>
            <a:bodyPr wrap="square" rtlCol="0">
              <a:spAutoFit/>
            </a:bodyPr>
            <a:lstStyle/>
            <a:p>
              <a:pPr algn="ctr"/>
              <a:r>
                <a:rPr lang="en-US" sz="1200" dirty="0">
                  <a:solidFill>
                    <a:srgbClr val="C00000"/>
                  </a:solidFill>
                </a:rPr>
                <a:t>Backbone Links</a:t>
              </a:r>
            </a:p>
          </p:txBody>
        </p:sp>
        <p:cxnSp>
          <p:nvCxnSpPr>
            <p:cNvPr id="204" name="Straight Connector 203">
              <a:extLst>
                <a:ext uri="{FF2B5EF4-FFF2-40B4-BE49-F238E27FC236}">
                  <a16:creationId xmlns:a16="http://schemas.microsoft.com/office/drawing/2014/main" id="{79E7AFF4-5AC7-0142-8DB5-AD7F9F9CE9BC}"/>
                </a:ext>
              </a:extLst>
            </p:cNvPr>
            <p:cNvCxnSpPr>
              <a:cxnSpLocks/>
              <a:endCxn id="203" idx="3"/>
            </p:cNvCxnSpPr>
            <p:nvPr/>
          </p:nvCxnSpPr>
          <p:spPr>
            <a:xfrm flipH="1" flipV="1">
              <a:off x="9801519" y="2944842"/>
              <a:ext cx="684097" cy="1023053"/>
            </a:xfrm>
            <a:prstGeom prst="line">
              <a:avLst/>
            </a:prstGeom>
            <a:ln w="6350" cmpd="sng">
              <a:solidFill>
                <a:srgbClr val="C00000"/>
              </a:solidFill>
              <a:prstDash val="lgDash"/>
            </a:ln>
          </p:spPr>
          <p:style>
            <a:lnRef idx="3">
              <a:schemeClr val="dk1"/>
            </a:lnRef>
            <a:fillRef idx="0">
              <a:schemeClr val="dk1"/>
            </a:fillRef>
            <a:effectRef idx="2">
              <a:schemeClr val="dk1"/>
            </a:effectRef>
            <a:fontRef idx="minor">
              <a:schemeClr val="tx1"/>
            </a:fontRef>
          </p:style>
        </p:cxnSp>
        <p:sp>
          <p:nvSpPr>
            <p:cNvPr id="205" name="TextBox 204">
              <a:extLst>
                <a:ext uri="{FF2B5EF4-FFF2-40B4-BE49-F238E27FC236}">
                  <a16:creationId xmlns:a16="http://schemas.microsoft.com/office/drawing/2014/main" id="{E5B3193D-AD34-6D4C-9077-1F52AFF80517}"/>
                </a:ext>
              </a:extLst>
            </p:cNvPr>
            <p:cNvSpPr txBox="1"/>
            <p:nvPr/>
          </p:nvSpPr>
          <p:spPr>
            <a:xfrm>
              <a:off x="7966929" y="5068535"/>
              <a:ext cx="2518685" cy="702875"/>
            </a:xfrm>
            <a:prstGeom prst="rect">
              <a:avLst/>
            </a:prstGeom>
            <a:noFill/>
          </p:spPr>
          <p:txBody>
            <a:bodyPr wrap="square" rtlCol="0">
              <a:spAutoFit/>
            </a:bodyPr>
            <a:lstStyle/>
            <a:p>
              <a:pPr algn="ctr"/>
              <a:r>
                <a:rPr lang="en-US" sz="1200" dirty="0">
                  <a:solidFill>
                    <a:srgbClr val="C00000"/>
                  </a:solidFill>
                </a:rPr>
                <a:t>Backbone / Aggregation </a:t>
              </a:r>
            </a:p>
            <a:p>
              <a:pPr algn="ctr"/>
              <a:r>
                <a:rPr lang="en-US" sz="1200" dirty="0">
                  <a:solidFill>
                    <a:srgbClr val="C00000"/>
                  </a:solidFill>
                </a:rPr>
                <a:t>Sites</a:t>
              </a:r>
            </a:p>
          </p:txBody>
        </p:sp>
        <p:cxnSp>
          <p:nvCxnSpPr>
            <p:cNvPr id="206" name="Straight Connector 205">
              <a:extLst>
                <a:ext uri="{FF2B5EF4-FFF2-40B4-BE49-F238E27FC236}">
                  <a16:creationId xmlns:a16="http://schemas.microsoft.com/office/drawing/2014/main" id="{15F2A26E-D0D7-1B40-979A-282544AD6C01}"/>
                </a:ext>
              </a:extLst>
            </p:cNvPr>
            <p:cNvCxnSpPr>
              <a:cxnSpLocks/>
              <a:stCxn id="191" idx="2"/>
              <a:endCxn id="205" idx="0"/>
            </p:cNvCxnSpPr>
            <p:nvPr/>
          </p:nvCxnSpPr>
          <p:spPr>
            <a:xfrm>
              <a:off x="8933238" y="4611334"/>
              <a:ext cx="293034" cy="457201"/>
            </a:xfrm>
            <a:prstGeom prst="line">
              <a:avLst/>
            </a:prstGeom>
            <a:ln w="6350" cmpd="sng">
              <a:solidFill>
                <a:srgbClr val="C00000"/>
              </a:solidFill>
              <a:prstDash val="lgDash"/>
            </a:ln>
          </p:spPr>
          <p:style>
            <a:lnRef idx="3">
              <a:schemeClr val="dk1"/>
            </a:lnRef>
            <a:fillRef idx="0">
              <a:schemeClr val="dk1"/>
            </a:fillRef>
            <a:effectRef idx="2">
              <a:schemeClr val="dk1"/>
            </a:effectRef>
            <a:fontRef idx="minor">
              <a:schemeClr val="tx1"/>
            </a:fontRef>
          </p:style>
        </p:cxnSp>
        <p:cxnSp>
          <p:nvCxnSpPr>
            <p:cNvPr id="207" name="Straight Connector 206">
              <a:extLst>
                <a:ext uri="{FF2B5EF4-FFF2-40B4-BE49-F238E27FC236}">
                  <a16:creationId xmlns:a16="http://schemas.microsoft.com/office/drawing/2014/main" id="{E45D1B23-52E1-4541-B569-313ED90B8057}"/>
                </a:ext>
              </a:extLst>
            </p:cNvPr>
            <p:cNvCxnSpPr>
              <a:cxnSpLocks/>
              <a:stCxn id="205" idx="0"/>
              <a:endCxn id="209" idx="2"/>
            </p:cNvCxnSpPr>
            <p:nvPr/>
          </p:nvCxnSpPr>
          <p:spPr>
            <a:xfrm flipH="1" flipV="1">
              <a:off x="5925564" y="4229592"/>
              <a:ext cx="3300708" cy="838942"/>
            </a:xfrm>
            <a:prstGeom prst="line">
              <a:avLst/>
            </a:prstGeom>
            <a:ln w="6350" cmpd="sng">
              <a:solidFill>
                <a:srgbClr val="C00000"/>
              </a:solidFill>
              <a:prstDash val="lgDash"/>
            </a:ln>
          </p:spPr>
          <p:style>
            <a:lnRef idx="3">
              <a:schemeClr val="dk1"/>
            </a:lnRef>
            <a:fillRef idx="0">
              <a:schemeClr val="dk1"/>
            </a:fillRef>
            <a:effectRef idx="2">
              <a:schemeClr val="dk1"/>
            </a:effectRef>
            <a:fontRef idx="minor">
              <a:schemeClr val="tx1"/>
            </a:fontRef>
          </p:style>
        </p:cxnSp>
        <p:grpSp>
          <p:nvGrpSpPr>
            <p:cNvPr id="208" name="Group 207">
              <a:extLst>
                <a:ext uri="{FF2B5EF4-FFF2-40B4-BE49-F238E27FC236}">
                  <a16:creationId xmlns:a16="http://schemas.microsoft.com/office/drawing/2014/main" id="{80DB26DB-C01E-0842-A36B-D1E6C995F50D}"/>
                </a:ext>
              </a:extLst>
            </p:cNvPr>
            <p:cNvGrpSpPr/>
            <p:nvPr/>
          </p:nvGrpSpPr>
          <p:grpSpPr>
            <a:xfrm>
              <a:off x="11318628" y="2181712"/>
              <a:ext cx="1347509" cy="2675921"/>
              <a:chOff x="11053621" y="2093978"/>
              <a:chExt cx="1347509" cy="2675921"/>
            </a:xfrm>
          </p:grpSpPr>
          <p:pic>
            <p:nvPicPr>
              <p:cNvPr id="213" name="Graphic 212" descr="Server">
                <a:extLst>
                  <a:ext uri="{FF2B5EF4-FFF2-40B4-BE49-F238E27FC236}">
                    <a16:creationId xmlns:a16="http://schemas.microsoft.com/office/drawing/2014/main" id="{B5415B2C-11F1-FF49-B230-0B82B563381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35308" y="2243643"/>
                <a:ext cx="914400" cy="914400"/>
              </a:xfrm>
              <a:prstGeom prst="rect">
                <a:avLst/>
              </a:prstGeom>
            </p:spPr>
          </p:pic>
          <p:pic>
            <p:nvPicPr>
              <p:cNvPr id="214" name="Graphic 213" descr="Badge Follow">
                <a:extLst>
                  <a:ext uri="{FF2B5EF4-FFF2-40B4-BE49-F238E27FC236}">
                    <a16:creationId xmlns:a16="http://schemas.microsoft.com/office/drawing/2014/main" id="{9CAD961A-BC80-0248-AB93-E82AC28E0E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235308" y="3429000"/>
                <a:ext cx="914400" cy="914400"/>
              </a:xfrm>
              <a:prstGeom prst="rect">
                <a:avLst/>
              </a:prstGeom>
            </p:spPr>
          </p:pic>
          <p:cxnSp>
            <p:nvCxnSpPr>
              <p:cNvPr id="215" name="Straight Connector 214">
                <a:extLst>
                  <a:ext uri="{FF2B5EF4-FFF2-40B4-BE49-F238E27FC236}">
                    <a16:creationId xmlns:a16="http://schemas.microsoft.com/office/drawing/2014/main" id="{98CCD867-AC59-B14F-8266-B25EA8602864}"/>
                  </a:ext>
                </a:extLst>
              </p:cNvPr>
              <p:cNvCxnSpPr>
                <a:cxnSpLocks/>
                <a:stCxn id="214" idx="0"/>
                <a:endCxn id="213" idx="2"/>
              </p:cNvCxnSpPr>
              <p:nvPr/>
            </p:nvCxnSpPr>
            <p:spPr>
              <a:xfrm flipV="1">
                <a:off x="11692508" y="3158043"/>
                <a:ext cx="0" cy="270957"/>
              </a:xfrm>
              <a:prstGeom prst="line">
                <a:avLst/>
              </a:prstGeom>
              <a:ln w="50800" cmpd="sng">
                <a:solidFill>
                  <a:schemeClr val="bg1">
                    <a:lumMod val="65000"/>
                  </a:schemeClr>
                </a:solidFill>
              </a:ln>
            </p:spPr>
            <p:style>
              <a:lnRef idx="3">
                <a:schemeClr val="dk1"/>
              </a:lnRef>
              <a:fillRef idx="0">
                <a:schemeClr val="dk1"/>
              </a:fillRef>
              <a:effectRef idx="2">
                <a:schemeClr val="dk1"/>
              </a:effectRef>
              <a:fontRef idx="minor">
                <a:schemeClr val="tx1"/>
              </a:fontRef>
            </p:style>
          </p:cxnSp>
          <p:sp>
            <p:nvSpPr>
              <p:cNvPr id="216" name="Rectangle 215">
                <a:extLst>
                  <a:ext uri="{FF2B5EF4-FFF2-40B4-BE49-F238E27FC236}">
                    <a16:creationId xmlns:a16="http://schemas.microsoft.com/office/drawing/2014/main" id="{CF1C26EB-6EFB-A14C-9EEC-EEB9A603FC47}"/>
                  </a:ext>
                </a:extLst>
              </p:cNvPr>
              <p:cNvSpPr/>
              <p:nvPr/>
            </p:nvSpPr>
            <p:spPr>
              <a:xfrm>
                <a:off x="11111162" y="2093978"/>
                <a:ext cx="1232429" cy="2579594"/>
              </a:xfrm>
              <a:prstGeom prst="rect">
                <a:avLst/>
              </a:prstGeom>
              <a:noFill/>
              <a:ln>
                <a:prstDash val="lgDash"/>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a:p>
            </p:txBody>
          </p:sp>
          <p:sp>
            <p:nvSpPr>
              <p:cNvPr id="217" name="TextBox 216">
                <a:extLst>
                  <a:ext uri="{FF2B5EF4-FFF2-40B4-BE49-F238E27FC236}">
                    <a16:creationId xmlns:a16="http://schemas.microsoft.com/office/drawing/2014/main" id="{C40DF2F1-9281-3C40-B54B-586939BD00FD}"/>
                  </a:ext>
                </a:extLst>
              </p:cNvPr>
              <p:cNvSpPr txBox="1"/>
              <p:nvPr/>
            </p:nvSpPr>
            <p:spPr>
              <a:xfrm>
                <a:off x="11053621" y="4348174"/>
                <a:ext cx="1347509" cy="421725"/>
              </a:xfrm>
              <a:prstGeom prst="rect">
                <a:avLst/>
              </a:prstGeom>
              <a:noFill/>
            </p:spPr>
            <p:txBody>
              <a:bodyPr wrap="square" rtlCol="0">
                <a:spAutoFit/>
              </a:bodyPr>
              <a:lstStyle/>
              <a:p>
                <a:pPr algn="ctr"/>
                <a:r>
                  <a:rPr lang="en-US" sz="1200" b="1" dirty="0">
                    <a:solidFill>
                      <a:schemeClr val="bg1">
                        <a:lumMod val="50000"/>
                      </a:schemeClr>
                    </a:solidFill>
                  </a:rPr>
                  <a:t>Core Site</a:t>
                </a:r>
              </a:p>
            </p:txBody>
          </p:sp>
        </p:grpSp>
        <p:pic>
          <p:nvPicPr>
            <p:cNvPr id="209" name="Graphic 208" descr="Badge Follow">
              <a:extLst>
                <a:ext uri="{FF2B5EF4-FFF2-40B4-BE49-F238E27FC236}">
                  <a16:creationId xmlns:a16="http://schemas.microsoft.com/office/drawing/2014/main" id="{DE55E389-6D79-BD44-B2C3-C8D22646C9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8364" y="3315193"/>
              <a:ext cx="914400" cy="914400"/>
            </a:xfrm>
            <a:prstGeom prst="rect">
              <a:avLst/>
            </a:prstGeom>
          </p:spPr>
        </p:pic>
        <p:sp>
          <p:nvSpPr>
            <p:cNvPr id="210" name="TextBox 209">
              <a:extLst>
                <a:ext uri="{FF2B5EF4-FFF2-40B4-BE49-F238E27FC236}">
                  <a16:creationId xmlns:a16="http://schemas.microsoft.com/office/drawing/2014/main" id="{D2E9BD26-0411-8F4C-9376-65C4B94AB9BF}"/>
                </a:ext>
              </a:extLst>
            </p:cNvPr>
            <p:cNvSpPr txBox="1"/>
            <p:nvPr/>
          </p:nvSpPr>
          <p:spPr>
            <a:xfrm>
              <a:off x="1504031" y="1153080"/>
              <a:ext cx="2129478" cy="421725"/>
            </a:xfrm>
            <a:prstGeom prst="rect">
              <a:avLst/>
            </a:prstGeom>
            <a:noFill/>
          </p:spPr>
          <p:txBody>
            <a:bodyPr wrap="square" rtlCol="0">
              <a:spAutoFit/>
            </a:bodyPr>
            <a:lstStyle/>
            <a:p>
              <a:pPr algn="ctr"/>
              <a:r>
                <a:rPr lang="en-US" sz="1200" b="1" dirty="0"/>
                <a:t>Backhaul Network</a:t>
              </a:r>
            </a:p>
          </p:txBody>
        </p:sp>
        <p:cxnSp>
          <p:nvCxnSpPr>
            <p:cNvPr id="211" name="Straight Connector 210">
              <a:extLst>
                <a:ext uri="{FF2B5EF4-FFF2-40B4-BE49-F238E27FC236}">
                  <a16:creationId xmlns:a16="http://schemas.microsoft.com/office/drawing/2014/main" id="{DFA0181E-15AE-4D47-98D9-21474669E3B0}"/>
                </a:ext>
              </a:extLst>
            </p:cNvPr>
            <p:cNvCxnSpPr>
              <a:cxnSpLocks/>
              <a:stCxn id="214" idx="1"/>
              <a:endCxn id="205" idx="0"/>
            </p:cNvCxnSpPr>
            <p:nvPr/>
          </p:nvCxnSpPr>
          <p:spPr>
            <a:xfrm flipH="1">
              <a:off x="9226272" y="3973933"/>
              <a:ext cx="2274042" cy="1094602"/>
            </a:xfrm>
            <a:prstGeom prst="line">
              <a:avLst/>
            </a:prstGeom>
            <a:ln w="6350" cmpd="sng">
              <a:solidFill>
                <a:srgbClr val="C00000"/>
              </a:solidFill>
              <a:prstDash val="lgDash"/>
            </a:ln>
          </p:spPr>
          <p:style>
            <a:lnRef idx="3">
              <a:schemeClr val="dk1"/>
            </a:lnRef>
            <a:fillRef idx="0">
              <a:schemeClr val="dk1"/>
            </a:fillRef>
            <a:effectRef idx="2">
              <a:schemeClr val="dk1"/>
            </a:effectRef>
            <a:fontRef idx="minor">
              <a:schemeClr val="tx1"/>
            </a:fontRef>
          </p:style>
        </p:cxnSp>
        <p:sp>
          <p:nvSpPr>
            <p:cNvPr id="212" name="TextBox 211">
              <a:extLst>
                <a:ext uri="{FF2B5EF4-FFF2-40B4-BE49-F238E27FC236}">
                  <a16:creationId xmlns:a16="http://schemas.microsoft.com/office/drawing/2014/main" id="{A0244751-5CBA-F348-83CC-B42BFC52EF7F}"/>
                </a:ext>
              </a:extLst>
            </p:cNvPr>
            <p:cNvSpPr txBox="1"/>
            <p:nvPr/>
          </p:nvSpPr>
          <p:spPr>
            <a:xfrm>
              <a:off x="10479119" y="1055172"/>
              <a:ext cx="2129478" cy="515441"/>
            </a:xfrm>
            <a:prstGeom prst="rect">
              <a:avLst/>
            </a:prstGeom>
            <a:noFill/>
          </p:spPr>
          <p:txBody>
            <a:bodyPr wrap="square" rtlCol="0">
              <a:spAutoFit/>
            </a:bodyPr>
            <a:lstStyle/>
            <a:p>
              <a:pPr algn="ctr"/>
              <a:r>
                <a:rPr lang="en-US" sz="1600" b="1" i="1" dirty="0"/>
                <a:t>Long-haul</a:t>
              </a:r>
            </a:p>
          </p:txBody>
        </p:sp>
      </p:grpSp>
    </p:spTree>
    <p:extLst>
      <p:ext uri="{BB962C8B-B14F-4D97-AF65-F5344CB8AC3E}">
        <p14:creationId xmlns:p14="http://schemas.microsoft.com/office/powerpoint/2010/main" val="381411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1B2D2-6A2A-4AD6-91B2-E1AC82304DDA}"/>
              </a:ext>
            </a:extLst>
          </p:cNvPr>
          <p:cNvSpPr>
            <a:spLocks noGrp="1"/>
          </p:cNvSpPr>
          <p:nvPr>
            <p:ph type="title"/>
          </p:nvPr>
        </p:nvSpPr>
        <p:spPr/>
        <p:txBody>
          <a:bodyPr/>
          <a:lstStyle/>
          <a:p>
            <a:r>
              <a:rPr lang="en-US" dirty="0"/>
              <a:t>Figure 4. Construction Planning Process</a:t>
            </a:r>
          </a:p>
        </p:txBody>
      </p:sp>
      <p:sp>
        <p:nvSpPr>
          <p:cNvPr id="31" name="Rectangle 30">
            <a:extLst>
              <a:ext uri="{FF2B5EF4-FFF2-40B4-BE49-F238E27FC236}">
                <a16:creationId xmlns:a16="http://schemas.microsoft.com/office/drawing/2014/main" id="{00710469-F350-6D45-82B9-E595FD1C6FE7}"/>
              </a:ext>
            </a:extLst>
          </p:cNvPr>
          <p:cNvSpPr/>
          <p:nvPr/>
        </p:nvSpPr>
        <p:spPr>
          <a:xfrm>
            <a:off x="2087884" y="991661"/>
            <a:ext cx="1755846" cy="718100"/>
          </a:xfrm>
          <a:prstGeom prst="rect">
            <a:avLst/>
          </a:prstGeom>
          <a:solidFill>
            <a:srgbClr val="A5A5A5"/>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600" b="0" i="0" u="none" strike="noStrike" kern="0" cap="none" spc="0" normalizeH="0" baseline="0" noProof="0" dirty="0">
                <a:ln>
                  <a:noFill/>
                </a:ln>
                <a:solidFill>
                  <a:prstClr val="black"/>
                </a:solidFill>
                <a:effectLst/>
                <a:uLnTx/>
                <a:uFillTx/>
                <a:latin typeface="Calibri" panose="020F0502020204030204"/>
                <a:ea typeface="+mn-ea"/>
                <a:cs typeface="+mn-cs"/>
              </a:rPr>
              <a:t>Fiber Optic Path Design</a:t>
            </a:r>
          </a:p>
        </p:txBody>
      </p:sp>
      <p:sp>
        <p:nvSpPr>
          <p:cNvPr id="32" name="Connector 31">
            <a:extLst>
              <a:ext uri="{FF2B5EF4-FFF2-40B4-BE49-F238E27FC236}">
                <a16:creationId xmlns:a16="http://schemas.microsoft.com/office/drawing/2014/main" id="{F637C540-FC94-0745-9504-8A6D62748555}"/>
              </a:ext>
            </a:extLst>
          </p:cNvPr>
          <p:cNvSpPr>
            <a:spLocks noChangeAspect="1"/>
          </p:cNvSpPr>
          <p:nvPr/>
        </p:nvSpPr>
        <p:spPr>
          <a:xfrm>
            <a:off x="266738" y="903431"/>
            <a:ext cx="1402395" cy="900000"/>
          </a:xfrm>
          <a:prstGeom prst="flowChartConnector">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600" b="0" i="0" u="none" strike="noStrike" kern="0" cap="none" spc="0" normalizeH="0" baseline="0" noProof="0" dirty="0">
                <a:ln>
                  <a:noFill/>
                </a:ln>
                <a:solidFill>
                  <a:prstClr val="black"/>
                </a:solidFill>
                <a:effectLst/>
                <a:uLnTx/>
                <a:uFillTx/>
                <a:latin typeface="Calibri" panose="020F0502020204030204"/>
                <a:ea typeface="+mn-ea"/>
                <a:cs typeface="+mn-cs"/>
              </a:rPr>
              <a:t>TX Network HLD</a:t>
            </a:r>
          </a:p>
        </p:txBody>
      </p:sp>
      <p:cxnSp>
        <p:nvCxnSpPr>
          <p:cNvPr id="33" name="Straight Arrow Connector 32">
            <a:extLst>
              <a:ext uri="{FF2B5EF4-FFF2-40B4-BE49-F238E27FC236}">
                <a16:creationId xmlns:a16="http://schemas.microsoft.com/office/drawing/2014/main" id="{4F68CD1C-239A-D54D-A4F8-3246F61667C5}"/>
              </a:ext>
            </a:extLst>
          </p:cNvPr>
          <p:cNvCxnSpPr>
            <a:cxnSpLocks/>
            <a:stCxn id="32" idx="6"/>
            <a:endCxn id="31" idx="1"/>
          </p:cNvCxnSpPr>
          <p:nvPr/>
        </p:nvCxnSpPr>
        <p:spPr>
          <a:xfrm flipV="1">
            <a:off x="1669133" y="1350711"/>
            <a:ext cx="418751" cy="2720"/>
          </a:xfrm>
          <a:prstGeom prst="straightConnector1">
            <a:avLst/>
          </a:prstGeom>
          <a:noFill/>
          <a:ln w="6350" cap="flat" cmpd="sng" algn="ctr">
            <a:solidFill>
              <a:sysClr val="window" lastClr="FFFFFF">
                <a:lumMod val="50000"/>
              </a:sysClr>
            </a:solidFill>
            <a:prstDash val="solid"/>
            <a:miter lim="800000"/>
            <a:tailEnd type="triangle"/>
          </a:ln>
          <a:effectLst/>
        </p:spPr>
      </p:cxnSp>
      <p:cxnSp>
        <p:nvCxnSpPr>
          <p:cNvPr id="34" name="Elbow Connector 33">
            <a:extLst>
              <a:ext uri="{FF2B5EF4-FFF2-40B4-BE49-F238E27FC236}">
                <a16:creationId xmlns:a16="http://schemas.microsoft.com/office/drawing/2014/main" id="{1C9E60AF-582A-0940-BCBC-BE9C8E15FD8D}"/>
              </a:ext>
            </a:extLst>
          </p:cNvPr>
          <p:cNvCxnSpPr>
            <a:cxnSpLocks/>
            <a:stCxn id="44" idx="2"/>
            <a:endCxn id="37" idx="1"/>
          </p:cNvCxnSpPr>
          <p:nvPr/>
        </p:nvCxnSpPr>
        <p:spPr>
          <a:xfrm rot="5400000" flipH="1" flipV="1">
            <a:off x="3561140" y="2939513"/>
            <a:ext cx="4508818" cy="1322674"/>
          </a:xfrm>
          <a:prstGeom prst="bentConnector4">
            <a:avLst>
              <a:gd name="adj1" fmla="val -5070"/>
              <a:gd name="adj2" fmla="val 76048"/>
            </a:avLst>
          </a:prstGeom>
          <a:noFill/>
          <a:ln w="6350" cap="flat" cmpd="sng" algn="ctr">
            <a:solidFill>
              <a:sysClr val="window" lastClr="FFFFFF">
                <a:lumMod val="50000"/>
              </a:sysClr>
            </a:solidFill>
            <a:prstDash val="solid"/>
            <a:miter lim="800000"/>
            <a:tailEnd type="triangle"/>
          </a:ln>
          <a:effectLst/>
        </p:spPr>
      </p:cxnSp>
      <p:sp>
        <p:nvSpPr>
          <p:cNvPr id="35" name="Rectangle 34">
            <a:extLst>
              <a:ext uri="{FF2B5EF4-FFF2-40B4-BE49-F238E27FC236}">
                <a16:creationId xmlns:a16="http://schemas.microsoft.com/office/drawing/2014/main" id="{20B29736-1934-8E41-B0F0-5F94C7F10A2F}"/>
              </a:ext>
            </a:extLst>
          </p:cNvPr>
          <p:cNvSpPr/>
          <p:nvPr/>
        </p:nvSpPr>
        <p:spPr>
          <a:xfrm>
            <a:off x="4276289" y="987391"/>
            <a:ext cx="1755846" cy="732079"/>
          </a:xfrm>
          <a:prstGeom prst="rect">
            <a:avLst/>
          </a:prstGeom>
          <a:solidFill>
            <a:srgbClr val="A5A5A5"/>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600" b="0" i="0" u="none" strike="noStrike" kern="0" cap="none" spc="0" normalizeH="0" baseline="0" noProof="0" dirty="0">
                <a:ln>
                  <a:noFill/>
                </a:ln>
                <a:solidFill>
                  <a:prstClr val="black"/>
                </a:solidFill>
                <a:effectLst/>
                <a:uLnTx/>
                <a:uFillTx/>
                <a:latin typeface="Calibri" panose="020F0502020204030204"/>
                <a:ea typeface="+mn-ea"/>
                <a:cs typeface="+mn-cs"/>
              </a:rPr>
              <a:t>Desktop Planning</a:t>
            </a:r>
          </a:p>
        </p:txBody>
      </p:sp>
      <p:cxnSp>
        <p:nvCxnSpPr>
          <p:cNvPr id="36" name="Straight Arrow Connector 35">
            <a:extLst>
              <a:ext uri="{FF2B5EF4-FFF2-40B4-BE49-F238E27FC236}">
                <a16:creationId xmlns:a16="http://schemas.microsoft.com/office/drawing/2014/main" id="{AD75DCF9-4A45-CD43-B28B-C0E74EF2B0A8}"/>
              </a:ext>
            </a:extLst>
          </p:cNvPr>
          <p:cNvCxnSpPr>
            <a:cxnSpLocks/>
            <a:stCxn id="31" idx="3"/>
            <a:endCxn id="35" idx="1"/>
          </p:cNvCxnSpPr>
          <p:nvPr/>
        </p:nvCxnSpPr>
        <p:spPr>
          <a:xfrm>
            <a:off x="3843730" y="1350711"/>
            <a:ext cx="432559" cy="2720"/>
          </a:xfrm>
          <a:prstGeom prst="straightConnector1">
            <a:avLst/>
          </a:prstGeom>
          <a:noFill/>
          <a:ln w="6350" cap="flat" cmpd="sng" algn="ctr">
            <a:solidFill>
              <a:sysClr val="window" lastClr="FFFFFF">
                <a:lumMod val="50000"/>
              </a:sysClr>
            </a:solidFill>
            <a:prstDash val="solid"/>
            <a:miter lim="800000"/>
            <a:tailEnd type="triangle"/>
          </a:ln>
          <a:effectLst/>
        </p:spPr>
      </p:cxnSp>
      <p:sp>
        <p:nvSpPr>
          <p:cNvPr id="37" name="Rectangle 36">
            <a:extLst>
              <a:ext uri="{FF2B5EF4-FFF2-40B4-BE49-F238E27FC236}">
                <a16:creationId xmlns:a16="http://schemas.microsoft.com/office/drawing/2014/main" id="{B0C8BE0E-4B20-7B46-9C84-69F012CE9734}"/>
              </a:ext>
            </a:extLst>
          </p:cNvPr>
          <p:cNvSpPr/>
          <p:nvPr/>
        </p:nvSpPr>
        <p:spPr>
          <a:xfrm>
            <a:off x="6476886" y="987391"/>
            <a:ext cx="1755846" cy="718100"/>
          </a:xfrm>
          <a:prstGeom prst="rect">
            <a:avLst/>
          </a:prstGeom>
          <a:solidFill>
            <a:srgbClr val="A5A5A5"/>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600" b="0" i="0" u="none" strike="noStrike" kern="0" cap="none" spc="0" normalizeH="0" baseline="0" noProof="0" dirty="0">
                <a:ln>
                  <a:noFill/>
                </a:ln>
                <a:solidFill>
                  <a:prstClr val="black"/>
                </a:solidFill>
                <a:effectLst/>
                <a:uLnTx/>
                <a:uFillTx/>
                <a:latin typeface="Calibri" panose="020F0502020204030204"/>
                <a:ea typeface="+mn-ea"/>
                <a:cs typeface="+mn-cs"/>
              </a:rPr>
              <a:t>Field Surveys</a:t>
            </a:r>
          </a:p>
        </p:txBody>
      </p:sp>
      <p:sp>
        <p:nvSpPr>
          <p:cNvPr id="38" name="Rectangle 37">
            <a:extLst>
              <a:ext uri="{FF2B5EF4-FFF2-40B4-BE49-F238E27FC236}">
                <a16:creationId xmlns:a16="http://schemas.microsoft.com/office/drawing/2014/main" id="{457124C9-7DE8-664A-95D3-417127B54C36}"/>
              </a:ext>
            </a:extLst>
          </p:cNvPr>
          <p:cNvSpPr/>
          <p:nvPr/>
        </p:nvSpPr>
        <p:spPr>
          <a:xfrm>
            <a:off x="8579947" y="970529"/>
            <a:ext cx="1755846" cy="718100"/>
          </a:xfrm>
          <a:prstGeom prst="rect">
            <a:avLst/>
          </a:prstGeom>
          <a:solidFill>
            <a:srgbClr val="A5A5A5"/>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600" b="0" i="0" u="none" strike="noStrike" kern="0" cap="none" spc="0" normalizeH="0" baseline="0" noProof="0" dirty="0">
                <a:ln>
                  <a:noFill/>
                </a:ln>
                <a:solidFill>
                  <a:prstClr val="black"/>
                </a:solidFill>
                <a:effectLst/>
                <a:uLnTx/>
                <a:uFillTx/>
                <a:latin typeface="Calibri" panose="020F0502020204030204"/>
                <a:ea typeface="+mn-ea"/>
                <a:cs typeface="+mn-cs"/>
              </a:rPr>
              <a:t>Construction Plan</a:t>
            </a:r>
          </a:p>
        </p:txBody>
      </p:sp>
      <p:cxnSp>
        <p:nvCxnSpPr>
          <p:cNvPr id="39" name="Straight Arrow Connector 38">
            <a:extLst>
              <a:ext uri="{FF2B5EF4-FFF2-40B4-BE49-F238E27FC236}">
                <a16:creationId xmlns:a16="http://schemas.microsoft.com/office/drawing/2014/main" id="{3A15F7F8-0B6E-814E-9E3C-E043955D797C}"/>
              </a:ext>
            </a:extLst>
          </p:cNvPr>
          <p:cNvCxnSpPr>
            <a:cxnSpLocks/>
            <a:stCxn id="35" idx="2"/>
            <a:endCxn id="41" idx="0"/>
          </p:cNvCxnSpPr>
          <p:nvPr/>
        </p:nvCxnSpPr>
        <p:spPr>
          <a:xfrm>
            <a:off x="5154212" y="1719470"/>
            <a:ext cx="0" cy="446269"/>
          </a:xfrm>
          <a:prstGeom prst="straightConnector1">
            <a:avLst/>
          </a:prstGeom>
          <a:noFill/>
          <a:ln w="6350" cap="flat" cmpd="sng" algn="ctr">
            <a:solidFill>
              <a:sysClr val="window" lastClr="FFFFFF">
                <a:lumMod val="50000"/>
              </a:sysClr>
            </a:solidFill>
            <a:prstDash val="solid"/>
            <a:miter lim="800000"/>
            <a:tailEnd type="triangle"/>
          </a:ln>
          <a:effectLst/>
        </p:spPr>
      </p:cxnSp>
      <p:grpSp>
        <p:nvGrpSpPr>
          <p:cNvPr id="40" name="Group 39">
            <a:extLst>
              <a:ext uri="{FF2B5EF4-FFF2-40B4-BE49-F238E27FC236}">
                <a16:creationId xmlns:a16="http://schemas.microsoft.com/office/drawing/2014/main" id="{BB8CD85A-862B-524B-862E-34393078D32C}"/>
              </a:ext>
            </a:extLst>
          </p:cNvPr>
          <p:cNvGrpSpPr/>
          <p:nvPr/>
        </p:nvGrpSpPr>
        <p:grpSpPr>
          <a:xfrm>
            <a:off x="4465143" y="2165739"/>
            <a:ext cx="1378137" cy="3743609"/>
            <a:chOff x="3594452" y="5047867"/>
            <a:chExt cx="1378137" cy="3743609"/>
          </a:xfrm>
        </p:grpSpPr>
        <p:sp>
          <p:nvSpPr>
            <p:cNvPr id="41" name="Document 40">
              <a:extLst>
                <a:ext uri="{FF2B5EF4-FFF2-40B4-BE49-F238E27FC236}">
                  <a16:creationId xmlns:a16="http://schemas.microsoft.com/office/drawing/2014/main" id="{B2469786-59F5-8543-BB94-7859851ED765}"/>
                </a:ext>
              </a:extLst>
            </p:cNvPr>
            <p:cNvSpPr/>
            <p:nvPr/>
          </p:nvSpPr>
          <p:spPr>
            <a:xfrm>
              <a:off x="3594452" y="5047867"/>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Identify Initial ROW</a:t>
              </a:r>
            </a:p>
          </p:txBody>
        </p:sp>
        <p:sp>
          <p:nvSpPr>
            <p:cNvPr id="42" name="Document 41">
              <a:extLst>
                <a:ext uri="{FF2B5EF4-FFF2-40B4-BE49-F238E27FC236}">
                  <a16:creationId xmlns:a16="http://schemas.microsoft.com/office/drawing/2014/main" id="{B89799CD-09C6-A148-B378-EF6CA89369BA}"/>
                </a:ext>
              </a:extLst>
            </p:cNvPr>
            <p:cNvSpPr/>
            <p:nvPr/>
          </p:nvSpPr>
          <p:spPr>
            <a:xfrm>
              <a:off x="3594452" y="6023022"/>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Compute Link Budget</a:t>
              </a:r>
            </a:p>
          </p:txBody>
        </p:sp>
        <p:sp>
          <p:nvSpPr>
            <p:cNvPr id="43" name="Document 42">
              <a:extLst>
                <a:ext uri="{FF2B5EF4-FFF2-40B4-BE49-F238E27FC236}">
                  <a16:creationId xmlns:a16="http://schemas.microsoft.com/office/drawing/2014/main" id="{349DA83F-D5C4-5242-BB45-24DB7FA9BDF3}"/>
                </a:ext>
              </a:extLst>
            </p:cNvPr>
            <p:cNvSpPr/>
            <p:nvPr/>
          </p:nvSpPr>
          <p:spPr>
            <a:xfrm>
              <a:off x="3594452" y="6975659"/>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Divide in Network Spans</a:t>
              </a:r>
            </a:p>
          </p:txBody>
        </p:sp>
        <p:sp>
          <p:nvSpPr>
            <p:cNvPr id="44" name="Document 43">
              <a:extLst>
                <a:ext uri="{FF2B5EF4-FFF2-40B4-BE49-F238E27FC236}">
                  <a16:creationId xmlns:a16="http://schemas.microsoft.com/office/drawing/2014/main" id="{9417D249-9248-8F40-AC36-83B4EBEB1285}"/>
                </a:ext>
              </a:extLst>
            </p:cNvPr>
            <p:cNvSpPr/>
            <p:nvPr/>
          </p:nvSpPr>
          <p:spPr>
            <a:xfrm>
              <a:off x="3594452" y="7973329"/>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Select Construction Technique</a:t>
              </a:r>
            </a:p>
          </p:txBody>
        </p:sp>
        <p:cxnSp>
          <p:nvCxnSpPr>
            <p:cNvPr id="45" name="Straight Arrow Connector 44">
              <a:extLst>
                <a:ext uri="{FF2B5EF4-FFF2-40B4-BE49-F238E27FC236}">
                  <a16:creationId xmlns:a16="http://schemas.microsoft.com/office/drawing/2014/main" id="{C245765C-9442-5241-B6C3-5AA55A53EEAD}"/>
                </a:ext>
              </a:extLst>
            </p:cNvPr>
            <p:cNvCxnSpPr>
              <a:cxnSpLocks/>
              <a:stCxn id="42" idx="2"/>
            </p:cNvCxnSpPr>
            <p:nvPr/>
          </p:nvCxnSpPr>
          <p:spPr>
            <a:xfrm>
              <a:off x="4283521" y="6787080"/>
              <a:ext cx="0" cy="215623"/>
            </a:xfrm>
            <a:prstGeom prst="straightConnector1">
              <a:avLst/>
            </a:prstGeom>
            <a:noFill/>
            <a:ln w="6350" cap="flat" cmpd="sng" algn="ctr">
              <a:solidFill>
                <a:sysClr val="window" lastClr="FFFFFF">
                  <a:lumMod val="50000"/>
                </a:sysClr>
              </a:solidFill>
              <a:prstDash val="solid"/>
              <a:miter lim="800000"/>
              <a:tailEnd type="triangle"/>
            </a:ln>
            <a:effectLst/>
          </p:spPr>
        </p:cxnSp>
        <p:cxnSp>
          <p:nvCxnSpPr>
            <p:cNvPr id="46" name="Straight Arrow Connector 45">
              <a:extLst>
                <a:ext uri="{FF2B5EF4-FFF2-40B4-BE49-F238E27FC236}">
                  <a16:creationId xmlns:a16="http://schemas.microsoft.com/office/drawing/2014/main" id="{93FFC878-4399-364E-BB8C-5823D9A680A2}"/>
                </a:ext>
              </a:extLst>
            </p:cNvPr>
            <p:cNvCxnSpPr>
              <a:cxnSpLocks/>
              <a:stCxn id="43" idx="2"/>
            </p:cNvCxnSpPr>
            <p:nvPr/>
          </p:nvCxnSpPr>
          <p:spPr>
            <a:xfrm>
              <a:off x="4283521" y="7739717"/>
              <a:ext cx="0" cy="260659"/>
            </a:xfrm>
            <a:prstGeom prst="straightConnector1">
              <a:avLst/>
            </a:prstGeom>
            <a:noFill/>
            <a:ln w="6350" cap="flat" cmpd="sng" algn="ctr">
              <a:solidFill>
                <a:sysClr val="window" lastClr="FFFFFF">
                  <a:lumMod val="50000"/>
                </a:sysClr>
              </a:solidFill>
              <a:prstDash val="solid"/>
              <a:miter lim="800000"/>
              <a:tailEnd type="triangle"/>
            </a:ln>
            <a:effectLst/>
          </p:spPr>
        </p:cxnSp>
        <p:cxnSp>
          <p:nvCxnSpPr>
            <p:cNvPr id="47" name="Straight Arrow Connector 46">
              <a:extLst>
                <a:ext uri="{FF2B5EF4-FFF2-40B4-BE49-F238E27FC236}">
                  <a16:creationId xmlns:a16="http://schemas.microsoft.com/office/drawing/2014/main" id="{4DE09ECE-1133-2741-A712-75B17CB9C197}"/>
                </a:ext>
              </a:extLst>
            </p:cNvPr>
            <p:cNvCxnSpPr>
              <a:cxnSpLocks/>
              <a:stCxn id="41" idx="2"/>
            </p:cNvCxnSpPr>
            <p:nvPr/>
          </p:nvCxnSpPr>
          <p:spPr>
            <a:xfrm>
              <a:off x="4283521" y="5811925"/>
              <a:ext cx="0" cy="238141"/>
            </a:xfrm>
            <a:prstGeom prst="straightConnector1">
              <a:avLst/>
            </a:prstGeom>
            <a:noFill/>
            <a:ln w="6350" cap="flat" cmpd="sng" algn="ctr">
              <a:solidFill>
                <a:sysClr val="window" lastClr="FFFFFF">
                  <a:lumMod val="50000"/>
                </a:sysClr>
              </a:solidFill>
              <a:prstDash val="solid"/>
              <a:miter lim="800000"/>
              <a:tailEnd type="triangle"/>
            </a:ln>
            <a:effectLst/>
          </p:spPr>
        </p:cxnSp>
      </p:grpSp>
      <p:grpSp>
        <p:nvGrpSpPr>
          <p:cNvPr id="48" name="Group 47">
            <a:extLst>
              <a:ext uri="{FF2B5EF4-FFF2-40B4-BE49-F238E27FC236}">
                <a16:creationId xmlns:a16="http://schemas.microsoft.com/office/drawing/2014/main" id="{839D88C5-D290-6B4C-8CBA-181ED050054B}"/>
              </a:ext>
            </a:extLst>
          </p:cNvPr>
          <p:cNvGrpSpPr/>
          <p:nvPr/>
        </p:nvGrpSpPr>
        <p:grpSpPr>
          <a:xfrm>
            <a:off x="6665740" y="2165739"/>
            <a:ext cx="1378137" cy="2745939"/>
            <a:chOff x="3594452" y="5047867"/>
            <a:chExt cx="1378137" cy="2745939"/>
          </a:xfrm>
        </p:grpSpPr>
        <p:sp>
          <p:nvSpPr>
            <p:cNvPr id="49" name="Document 48">
              <a:extLst>
                <a:ext uri="{FF2B5EF4-FFF2-40B4-BE49-F238E27FC236}">
                  <a16:creationId xmlns:a16="http://schemas.microsoft.com/office/drawing/2014/main" id="{2A077236-111F-924B-9A5D-A4859546AB97}"/>
                </a:ext>
              </a:extLst>
            </p:cNvPr>
            <p:cNvSpPr/>
            <p:nvPr/>
          </p:nvSpPr>
          <p:spPr>
            <a:xfrm>
              <a:off x="3594452" y="5047867"/>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Upgrade Initial Design</a:t>
              </a:r>
            </a:p>
          </p:txBody>
        </p:sp>
        <p:sp>
          <p:nvSpPr>
            <p:cNvPr id="50" name="Document 49">
              <a:extLst>
                <a:ext uri="{FF2B5EF4-FFF2-40B4-BE49-F238E27FC236}">
                  <a16:creationId xmlns:a16="http://schemas.microsoft.com/office/drawing/2014/main" id="{DA2BA5F9-3D4C-1541-9287-E688DB8E46DB}"/>
                </a:ext>
              </a:extLst>
            </p:cNvPr>
            <p:cNvSpPr/>
            <p:nvPr/>
          </p:nvSpPr>
          <p:spPr>
            <a:xfrm>
              <a:off x="3594452" y="6023022"/>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Confirm Construction Technique</a:t>
              </a:r>
            </a:p>
          </p:txBody>
        </p:sp>
        <p:sp>
          <p:nvSpPr>
            <p:cNvPr id="51" name="Document 50">
              <a:extLst>
                <a:ext uri="{FF2B5EF4-FFF2-40B4-BE49-F238E27FC236}">
                  <a16:creationId xmlns:a16="http://schemas.microsoft.com/office/drawing/2014/main" id="{33165FF6-C83B-3345-AC92-7B4B37C0A0B1}"/>
                </a:ext>
              </a:extLst>
            </p:cNvPr>
            <p:cNvSpPr/>
            <p:nvPr/>
          </p:nvSpPr>
          <p:spPr>
            <a:xfrm>
              <a:off x="3594452" y="6975659"/>
              <a:ext cx="1378137" cy="818147"/>
            </a:xfrm>
            <a:prstGeom prst="flowChartDocument">
              <a:avLst/>
            </a:prstGeom>
            <a:solidFill>
              <a:srgbClr val="E7E6E6">
                <a:lumMod val="90000"/>
              </a:srgbClr>
            </a:solidFill>
            <a:ln w="1905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400" b="0" i="0" u="none" strike="noStrike" kern="0" cap="none" spc="0" normalizeH="0" baseline="0" noProof="0" dirty="0">
                  <a:ln>
                    <a:noFill/>
                  </a:ln>
                  <a:solidFill>
                    <a:prstClr val="black"/>
                  </a:solidFill>
                  <a:effectLst/>
                  <a:uLnTx/>
                  <a:uFillTx/>
                  <a:latin typeface="Calibri" panose="020F0502020204030204"/>
                  <a:ea typeface="+mn-ea"/>
                  <a:cs typeface="+mn-cs"/>
                </a:rPr>
                <a:t>Confirm Rights of Way</a:t>
              </a:r>
            </a:p>
          </p:txBody>
        </p:sp>
        <p:cxnSp>
          <p:nvCxnSpPr>
            <p:cNvPr id="52" name="Straight Arrow Connector 51">
              <a:extLst>
                <a:ext uri="{FF2B5EF4-FFF2-40B4-BE49-F238E27FC236}">
                  <a16:creationId xmlns:a16="http://schemas.microsoft.com/office/drawing/2014/main" id="{01FBCEDC-F675-5C40-8432-DD899E688B64}"/>
                </a:ext>
              </a:extLst>
            </p:cNvPr>
            <p:cNvCxnSpPr>
              <a:cxnSpLocks/>
              <a:stCxn id="50" idx="2"/>
            </p:cNvCxnSpPr>
            <p:nvPr/>
          </p:nvCxnSpPr>
          <p:spPr>
            <a:xfrm>
              <a:off x="4283521" y="6787080"/>
              <a:ext cx="0" cy="215623"/>
            </a:xfrm>
            <a:prstGeom prst="straightConnector1">
              <a:avLst/>
            </a:prstGeom>
            <a:noFill/>
            <a:ln w="6350" cap="flat" cmpd="sng" algn="ctr">
              <a:solidFill>
                <a:sysClr val="window" lastClr="FFFFFF">
                  <a:lumMod val="50000"/>
                </a:sysClr>
              </a:solidFill>
              <a:prstDash val="solid"/>
              <a:miter lim="800000"/>
              <a:tailEnd type="triangle"/>
            </a:ln>
            <a:effectLst/>
          </p:spPr>
        </p:cxnSp>
        <p:cxnSp>
          <p:nvCxnSpPr>
            <p:cNvPr id="53" name="Straight Arrow Connector 52">
              <a:extLst>
                <a:ext uri="{FF2B5EF4-FFF2-40B4-BE49-F238E27FC236}">
                  <a16:creationId xmlns:a16="http://schemas.microsoft.com/office/drawing/2014/main" id="{B4A947C7-19E0-2746-A19E-67F004C2D466}"/>
                </a:ext>
              </a:extLst>
            </p:cNvPr>
            <p:cNvCxnSpPr>
              <a:cxnSpLocks/>
              <a:stCxn id="49" idx="2"/>
            </p:cNvCxnSpPr>
            <p:nvPr/>
          </p:nvCxnSpPr>
          <p:spPr>
            <a:xfrm>
              <a:off x="4283521" y="5811925"/>
              <a:ext cx="0" cy="238141"/>
            </a:xfrm>
            <a:prstGeom prst="straightConnector1">
              <a:avLst/>
            </a:prstGeom>
            <a:noFill/>
            <a:ln w="6350" cap="flat" cmpd="sng" algn="ctr">
              <a:solidFill>
                <a:sysClr val="window" lastClr="FFFFFF">
                  <a:lumMod val="50000"/>
                </a:sysClr>
              </a:solidFill>
              <a:prstDash val="solid"/>
              <a:miter lim="800000"/>
              <a:tailEnd type="triangle"/>
            </a:ln>
            <a:effectLst/>
          </p:spPr>
        </p:cxnSp>
      </p:grpSp>
      <p:cxnSp>
        <p:nvCxnSpPr>
          <p:cNvPr id="54" name="Straight Arrow Connector 53">
            <a:extLst>
              <a:ext uri="{FF2B5EF4-FFF2-40B4-BE49-F238E27FC236}">
                <a16:creationId xmlns:a16="http://schemas.microsoft.com/office/drawing/2014/main" id="{59CB8BF3-92D8-B443-8DE8-913372C4A43B}"/>
              </a:ext>
            </a:extLst>
          </p:cNvPr>
          <p:cNvCxnSpPr>
            <a:cxnSpLocks/>
            <a:stCxn id="37" idx="2"/>
            <a:endCxn id="49" idx="0"/>
          </p:cNvCxnSpPr>
          <p:nvPr/>
        </p:nvCxnSpPr>
        <p:spPr>
          <a:xfrm>
            <a:off x="7354809" y="1705491"/>
            <a:ext cx="0" cy="460248"/>
          </a:xfrm>
          <a:prstGeom prst="straightConnector1">
            <a:avLst/>
          </a:prstGeom>
          <a:noFill/>
          <a:ln w="6350" cap="flat" cmpd="sng" algn="ctr">
            <a:solidFill>
              <a:sysClr val="window" lastClr="FFFFFF">
                <a:lumMod val="50000"/>
              </a:sysClr>
            </a:solidFill>
            <a:prstDash val="solid"/>
            <a:miter lim="800000"/>
            <a:tailEnd type="triangle"/>
          </a:ln>
          <a:effectLst/>
        </p:spPr>
      </p:cxnSp>
      <p:cxnSp>
        <p:nvCxnSpPr>
          <p:cNvPr id="55" name="Elbow Connector 54">
            <a:extLst>
              <a:ext uri="{FF2B5EF4-FFF2-40B4-BE49-F238E27FC236}">
                <a16:creationId xmlns:a16="http://schemas.microsoft.com/office/drawing/2014/main" id="{F736CA0D-6CC2-ED41-ACB4-E65301EE9B18}"/>
              </a:ext>
            </a:extLst>
          </p:cNvPr>
          <p:cNvCxnSpPr>
            <a:cxnSpLocks/>
            <a:stCxn id="51" idx="2"/>
            <a:endCxn id="38" idx="1"/>
          </p:cNvCxnSpPr>
          <p:nvPr/>
        </p:nvCxnSpPr>
        <p:spPr>
          <a:xfrm rot="5400000" flipH="1" flipV="1">
            <a:off x="6203373" y="2481015"/>
            <a:ext cx="3528010" cy="1225138"/>
          </a:xfrm>
          <a:prstGeom prst="bentConnector4">
            <a:avLst>
              <a:gd name="adj1" fmla="val -6480"/>
              <a:gd name="adj2" fmla="val 78122"/>
            </a:avLst>
          </a:prstGeom>
          <a:noFill/>
          <a:ln w="6350" cap="flat" cmpd="sng" algn="ctr">
            <a:solidFill>
              <a:sysClr val="window" lastClr="FFFFFF">
                <a:lumMod val="50000"/>
              </a:sysClr>
            </a:solidFill>
            <a:prstDash val="solid"/>
            <a:miter lim="800000"/>
            <a:tailEnd type="triangle"/>
          </a:ln>
          <a:effectLst/>
        </p:spPr>
      </p:cxnSp>
      <p:sp>
        <p:nvSpPr>
          <p:cNvPr id="56" name="Connector 55">
            <a:extLst>
              <a:ext uri="{FF2B5EF4-FFF2-40B4-BE49-F238E27FC236}">
                <a16:creationId xmlns:a16="http://schemas.microsoft.com/office/drawing/2014/main" id="{4C7E6374-6E74-4440-8A05-67125116427B}"/>
              </a:ext>
            </a:extLst>
          </p:cNvPr>
          <p:cNvSpPr>
            <a:spLocks noChangeAspect="1"/>
          </p:cNvSpPr>
          <p:nvPr/>
        </p:nvSpPr>
        <p:spPr>
          <a:xfrm>
            <a:off x="10789604" y="879579"/>
            <a:ext cx="1402395" cy="900000"/>
          </a:xfrm>
          <a:prstGeom prst="flowChartConnector">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600" b="0" i="0" u="none" strike="noStrike" kern="0" cap="none" spc="0" normalizeH="0" baseline="0" noProof="0" dirty="0">
                <a:ln>
                  <a:noFill/>
                </a:ln>
                <a:solidFill>
                  <a:prstClr val="black"/>
                </a:solidFill>
                <a:effectLst/>
                <a:uLnTx/>
                <a:uFillTx/>
                <a:latin typeface="Calibri" panose="020F0502020204030204"/>
                <a:ea typeface="+mn-ea"/>
                <a:cs typeface="+mn-cs"/>
              </a:rPr>
              <a:t>Vendor Selection</a:t>
            </a:r>
          </a:p>
        </p:txBody>
      </p:sp>
      <p:cxnSp>
        <p:nvCxnSpPr>
          <p:cNvPr id="57" name="Straight Arrow Connector 56">
            <a:extLst>
              <a:ext uri="{FF2B5EF4-FFF2-40B4-BE49-F238E27FC236}">
                <a16:creationId xmlns:a16="http://schemas.microsoft.com/office/drawing/2014/main" id="{79FF06A3-2FF5-8A42-B32B-0B07F91CA544}"/>
              </a:ext>
            </a:extLst>
          </p:cNvPr>
          <p:cNvCxnSpPr>
            <a:cxnSpLocks/>
            <a:stCxn id="38" idx="3"/>
            <a:endCxn id="56" idx="2"/>
          </p:cNvCxnSpPr>
          <p:nvPr/>
        </p:nvCxnSpPr>
        <p:spPr>
          <a:xfrm>
            <a:off x="10335793" y="1329579"/>
            <a:ext cx="453811" cy="0"/>
          </a:xfrm>
          <a:prstGeom prst="straightConnector1">
            <a:avLst/>
          </a:prstGeom>
          <a:noFill/>
          <a:ln w="6350" cap="flat" cmpd="sng" algn="ctr">
            <a:solidFill>
              <a:sysClr val="window" lastClr="FFFFFF">
                <a:lumMod val="50000"/>
              </a:sysClr>
            </a:solidFill>
            <a:prstDash val="solid"/>
            <a:miter lim="800000"/>
            <a:tailEnd type="triangle"/>
          </a:ln>
          <a:effectLst/>
        </p:spPr>
      </p:cxnSp>
    </p:spTree>
    <p:extLst>
      <p:ext uri="{BB962C8B-B14F-4D97-AF65-F5344CB8AC3E}">
        <p14:creationId xmlns:p14="http://schemas.microsoft.com/office/powerpoint/2010/main" val="374188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1B2D2-6A2A-4AD6-91B2-E1AC82304DDA}"/>
              </a:ext>
            </a:extLst>
          </p:cNvPr>
          <p:cNvSpPr>
            <a:spLocks noGrp="1"/>
          </p:cNvSpPr>
          <p:nvPr>
            <p:ph type="title"/>
          </p:nvPr>
        </p:nvSpPr>
        <p:spPr/>
        <p:txBody>
          <a:bodyPr/>
          <a:lstStyle/>
          <a:p>
            <a:r>
              <a:rPr lang="en-US" dirty="0"/>
              <a:t>Figure 5. Network Span segmentation</a:t>
            </a:r>
          </a:p>
        </p:txBody>
      </p:sp>
      <p:grpSp>
        <p:nvGrpSpPr>
          <p:cNvPr id="2" name="Group 1">
            <a:extLst>
              <a:ext uri="{FF2B5EF4-FFF2-40B4-BE49-F238E27FC236}">
                <a16:creationId xmlns:a16="http://schemas.microsoft.com/office/drawing/2014/main" id="{AC5E7320-AABC-F144-8605-26DAE1D5E668}"/>
              </a:ext>
            </a:extLst>
          </p:cNvPr>
          <p:cNvGrpSpPr/>
          <p:nvPr/>
        </p:nvGrpSpPr>
        <p:grpSpPr>
          <a:xfrm>
            <a:off x="2822713" y="879579"/>
            <a:ext cx="6779238" cy="5526545"/>
            <a:chOff x="592328" y="476250"/>
            <a:chExt cx="11836400" cy="8648700"/>
          </a:xfrm>
        </p:grpSpPr>
        <p:pic>
          <p:nvPicPr>
            <p:cNvPr id="3" name="Picture 2">
              <a:extLst>
                <a:ext uri="{FF2B5EF4-FFF2-40B4-BE49-F238E27FC236}">
                  <a16:creationId xmlns:a16="http://schemas.microsoft.com/office/drawing/2014/main" id="{700BC608-1FCE-2F4E-BF40-973234C5B77A}"/>
                </a:ext>
              </a:extLst>
            </p:cNvPr>
            <p:cNvPicPr>
              <a:picLocks noChangeAspect="1"/>
            </p:cNvPicPr>
            <p:nvPr/>
          </p:nvPicPr>
          <p:blipFill>
            <a:blip r:embed="rId2">
              <a:alphaModFix amt="70000"/>
            </a:blip>
            <a:stretch>
              <a:fillRect/>
            </a:stretch>
          </p:blipFill>
          <p:spPr>
            <a:xfrm>
              <a:off x="592328" y="476250"/>
              <a:ext cx="11836400" cy="8648700"/>
            </a:xfrm>
            <a:prstGeom prst="rect">
              <a:avLst/>
            </a:prstGeom>
          </p:spPr>
        </p:pic>
        <p:sp>
          <p:nvSpPr>
            <p:cNvPr id="5" name="Rectangle 4">
              <a:extLst>
                <a:ext uri="{FF2B5EF4-FFF2-40B4-BE49-F238E27FC236}">
                  <a16:creationId xmlns:a16="http://schemas.microsoft.com/office/drawing/2014/main" id="{DF1AFABA-7F5A-374C-A41E-401FDE853FC9}"/>
                </a:ext>
              </a:extLst>
            </p:cNvPr>
            <p:cNvSpPr/>
            <p:nvPr/>
          </p:nvSpPr>
          <p:spPr>
            <a:xfrm>
              <a:off x="4352544" y="1743456"/>
              <a:ext cx="2255520" cy="2474976"/>
            </a:xfrm>
            <a:prstGeom prst="rect">
              <a:avLst/>
            </a:prstGeom>
            <a:solidFill>
              <a:srgbClr val="4472C4">
                <a:lumMod val="60000"/>
                <a:lumOff val="40000"/>
                <a:alpha val="6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ES" sz="1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44F95D8-9FCE-C740-B770-F39E095B14AB}"/>
                </a:ext>
              </a:extLst>
            </p:cNvPr>
            <p:cNvSpPr/>
            <p:nvPr/>
          </p:nvSpPr>
          <p:spPr>
            <a:xfrm>
              <a:off x="6608064" y="3797808"/>
              <a:ext cx="2255520" cy="2474976"/>
            </a:xfrm>
            <a:prstGeom prst="rect">
              <a:avLst/>
            </a:prstGeom>
            <a:solidFill>
              <a:srgbClr val="4472C4">
                <a:lumMod val="60000"/>
                <a:lumOff val="40000"/>
                <a:alpha val="6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ES" sz="1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 name="L-shape 6">
              <a:extLst>
                <a:ext uri="{FF2B5EF4-FFF2-40B4-BE49-F238E27FC236}">
                  <a16:creationId xmlns:a16="http://schemas.microsoft.com/office/drawing/2014/main" id="{AA2BD4D7-7EF3-234D-A9F8-0114E6334048}"/>
                </a:ext>
              </a:extLst>
            </p:cNvPr>
            <p:cNvSpPr/>
            <p:nvPr/>
          </p:nvSpPr>
          <p:spPr>
            <a:xfrm rot="16200000">
              <a:off x="7421430" y="3813497"/>
              <a:ext cx="5175389" cy="4619754"/>
            </a:xfrm>
            <a:prstGeom prst="corner">
              <a:avLst/>
            </a:prstGeom>
            <a:solidFill>
              <a:srgbClr val="4472C4">
                <a:lumMod val="60000"/>
                <a:lumOff val="40000"/>
                <a:alpha val="65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E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E9A9FAE7-1FE9-2D40-972C-D0C77AB2A5F1}"/>
                </a:ext>
              </a:extLst>
            </p:cNvPr>
            <p:cNvSpPr/>
            <p:nvPr/>
          </p:nvSpPr>
          <p:spPr>
            <a:xfrm>
              <a:off x="6418770" y="3822432"/>
              <a:ext cx="396000" cy="396000"/>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E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EA9361C9-B09A-A246-B797-EF27F62C655B}"/>
                </a:ext>
              </a:extLst>
            </p:cNvPr>
            <p:cNvSpPr/>
            <p:nvPr/>
          </p:nvSpPr>
          <p:spPr>
            <a:xfrm>
              <a:off x="7900098" y="6172142"/>
              <a:ext cx="396000" cy="396000"/>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E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Freeform 9">
              <a:extLst>
                <a:ext uri="{FF2B5EF4-FFF2-40B4-BE49-F238E27FC236}">
                  <a16:creationId xmlns:a16="http://schemas.microsoft.com/office/drawing/2014/main" id="{0960F32D-270B-544A-A74E-7D21EE25E5FB}"/>
                </a:ext>
              </a:extLst>
            </p:cNvPr>
            <p:cNvSpPr/>
            <p:nvPr/>
          </p:nvSpPr>
          <p:spPr>
            <a:xfrm>
              <a:off x="4690433" y="1950720"/>
              <a:ext cx="7628567" cy="6760349"/>
            </a:xfrm>
            <a:custGeom>
              <a:avLst/>
              <a:gdLst>
                <a:gd name="connsiteX0" fmla="*/ 1450848 w 7628567"/>
                <a:gd name="connsiteY0" fmla="*/ 0 h 6760349"/>
                <a:gd name="connsiteX1" fmla="*/ 1377696 w 7628567"/>
                <a:gd name="connsiteY1" fmla="*/ 12192 h 6760349"/>
                <a:gd name="connsiteX2" fmla="*/ 1341120 w 7628567"/>
                <a:gd name="connsiteY2" fmla="*/ 24384 h 6760349"/>
                <a:gd name="connsiteX3" fmla="*/ 1158240 w 7628567"/>
                <a:gd name="connsiteY3" fmla="*/ 60960 h 6760349"/>
                <a:gd name="connsiteX4" fmla="*/ 1011936 w 7628567"/>
                <a:gd name="connsiteY4" fmla="*/ 109728 h 6760349"/>
                <a:gd name="connsiteX5" fmla="*/ 902208 w 7628567"/>
                <a:gd name="connsiteY5" fmla="*/ 146304 h 6760349"/>
                <a:gd name="connsiteX6" fmla="*/ 865632 w 7628567"/>
                <a:gd name="connsiteY6" fmla="*/ 158496 h 6760349"/>
                <a:gd name="connsiteX7" fmla="*/ 755904 w 7628567"/>
                <a:gd name="connsiteY7" fmla="*/ 231648 h 6760349"/>
                <a:gd name="connsiteX8" fmla="*/ 719328 w 7628567"/>
                <a:gd name="connsiteY8" fmla="*/ 256032 h 6760349"/>
                <a:gd name="connsiteX9" fmla="*/ 573024 w 7628567"/>
                <a:gd name="connsiteY9" fmla="*/ 292608 h 6760349"/>
                <a:gd name="connsiteX10" fmla="*/ 524256 w 7628567"/>
                <a:gd name="connsiteY10" fmla="*/ 304800 h 6760349"/>
                <a:gd name="connsiteX11" fmla="*/ 341376 w 7628567"/>
                <a:gd name="connsiteY11" fmla="*/ 365760 h 6760349"/>
                <a:gd name="connsiteX12" fmla="*/ 304800 w 7628567"/>
                <a:gd name="connsiteY12" fmla="*/ 377952 h 6760349"/>
                <a:gd name="connsiteX13" fmla="*/ 268224 w 7628567"/>
                <a:gd name="connsiteY13" fmla="*/ 390144 h 6760349"/>
                <a:gd name="connsiteX14" fmla="*/ 158496 w 7628567"/>
                <a:gd name="connsiteY14" fmla="*/ 463296 h 6760349"/>
                <a:gd name="connsiteX15" fmla="*/ 121920 w 7628567"/>
                <a:gd name="connsiteY15" fmla="*/ 487680 h 6760349"/>
                <a:gd name="connsiteX16" fmla="*/ 60960 w 7628567"/>
                <a:gd name="connsiteY16" fmla="*/ 536448 h 6760349"/>
                <a:gd name="connsiteX17" fmla="*/ 36576 w 7628567"/>
                <a:gd name="connsiteY17" fmla="*/ 573024 h 6760349"/>
                <a:gd name="connsiteX18" fmla="*/ 0 w 7628567"/>
                <a:gd name="connsiteY18" fmla="*/ 694944 h 6760349"/>
                <a:gd name="connsiteX19" fmla="*/ 12192 w 7628567"/>
                <a:gd name="connsiteY19" fmla="*/ 731520 h 6760349"/>
                <a:gd name="connsiteX20" fmla="*/ 85344 w 7628567"/>
                <a:gd name="connsiteY20" fmla="*/ 755904 h 6760349"/>
                <a:gd name="connsiteX21" fmla="*/ 207264 w 7628567"/>
                <a:gd name="connsiteY21" fmla="*/ 780288 h 6760349"/>
                <a:gd name="connsiteX22" fmla="*/ 268224 w 7628567"/>
                <a:gd name="connsiteY22" fmla="*/ 792480 h 6760349"/>
                <a:gd name="connsiteX23" fmla="*/ 377952 w 7628567"/>
                <a:gd name="connsiteY23" fmla="*/ 804672 h 6760349"/>
                <a:gd name="connsiteX24" fmla="*/ 609600 w 7628567"/>
                <a:gd name="connsiteY24" fmla="*/ 816864 h 6760349"/>
                <a:gd name="connsiteX25" fmla="*/ 694944 w 7628567"/>
                <a:gd name="connsiteY25" fmla="*/ 829056 h 6760349"/>
                <a:gd name="connsiteX26" fmla="*/ 768096 w 7628567"/>
                <a:gd name="connsiteY26" fmla="*/ 853440 h 6760349"/>
                <a:gd name="connsiteX27" fmla="*/ 768096 w 7628567"/>
                <a:gd name="connsiteY27" fmla="*/ 938784 h 6760349"/>
                <a:gd name="connsiteX28" fmla="*/ 780288 w 7628567"/>
                <a:gd name="connsiteY28" fmla="*/ 1158240 h 6760349"/>
                <a:gd name="connsiteX29" fmla="*/ 816864 w 7628567"/>
                <a:gd name="connsiteY29" fmla="*/ 1182624 h 6760349"/>
                <a:gd name="connsiteX30" fmla="*/ 975360 w 7628567"/>
                <a:gd name="connsiteY30" fmla="*/ 1158240 h 6760349"/>
                <a:gd name="connsiteX31" fmla="*/ 1146048 w 7628567"/>
                <a:gd name="connsiteY31" fmla="*/ 1146048 h 6760349"/>
                <a:gd name="connsiteX32" fmla="*/ 1292352 w 7628567"/>
                <a:gd name="connsiteY32" fmla="*/ 1133856 h 6760349"/>
                <a:gd name="connsiteX33" fmla="*/ 1438656 w 7628567"/>
                <a:gd name="connsiteY33" fmla="*/ 1097280 h 6760349"/>
                <a:gd name="connsiteX34" fmla="*/ 1487424 w 7628567"/>
                <a:gd name="connsiteY34" fmla="*/ 1085088 h 6760349"/>
                <a:gd name="connsiteX35" fmla="*/ 1633728 w 7628567"/>
                <a:gd name="connsiteY35" fmla="*/ 1133856 h 6760349"/>
                <a:gd name="connsiteX36" fmla="*/ 1670304 w 7628567"/>
                <a:gd name="connsiteY36" fmla="*/ 1146048 h 6760349"/>
                <a:gd name="connsiteX37" fmla="*/ 1706880 w 7628567"/>
                <a:gd name="connsiteY37" fmla="*/ 1170432 h 6760349"/>
                <a:gd name="connsiteX38" fmla="*/ 1743456 w 7628567"/>
                <a:gd name="connsiteY38" fmla="*/ 1182624 h 6760349"/>
                <a:gd name="connsiteX39" fmla="*/ 1816608 w 7628567"/>
                <a:gd name="connsiteY39" fmla="*/ 1231392 h 6760349"/>
                <a:gd name="connsiteX40" fmla="*/ 1840992 w 7628567"/>
                <a:gd name="connsiteY40" fmla="*/ 1304544 h 6760349"/>
                <a:gd name="connsiteX41" fmla="*/ 1816608 w 7628567"/>
                <a:gd name="connsiteY41" fmla="*/ 1438656 h 6760349"/>
                <a:gd name="connsiteX42" fmla="*/ 1804416 w 7628567"/>
                <a:gd name="connsiteY42" fmla="*/ 1475232 h 6760349"/>
                <a:gd name="connsiteX43" fmla="*/ 1755648 w 7628567"/>
                <a:gd name="connsiteY43" fmla="*/ 1548384 h 6760349"/>
                <a:gd name="connsiteX44" fmla="*/ 1731264 w 7628567"/>
                <a:gd name="connsiteY44" fmla="*/ 1584960 h 6760349"/>
                <a:gd name="connsiteX45" fmla="*/ 1706880 w 7628567"/>
                <a:gd name="connsiteY45" fmla="*/ 1621536 h 6760349"/>
                <a:gd name="connsiteX46" fmla="*/ 1670304 w 7628567"/>
                <a:gd name="connsiteY46" fmla="*/ 1645920 h 6760349"/>
                <a:gd name="connsiteX47" fmla="*/ 1633728 w 7628567"/>
                <a:gd name="connsiteY47" fmla="*/ 1658112 h 6760349"/>
                <a:gd name="connsiteX48" fmla="*/ 1560576 w 7628567"/>
                <a:gd name="connsiteY48" fmla="*/ 1731264 h 6760349"/>
                <a:gd name="connsiteX49" fmla="*/ 1536192 w 7628567"/>
                <a:gd name="connsiteY49" fmla="*/ 1767840 h 6760349"/>
                <a:gd name="connsiteX50" fmla="*/ 1499616 w 7628567"/>
                <a:gd name="connsiteY50" fmla="*/ 1792224 h 6760349"/>
                <a:gd name="connsiteX51" fmla="*/ 1463040 w 7628567"/>
                <a:gd name="connsiteY51" fmla="*/ 1828800 h 6760349"/>
                <a:gd name="connsiteX52" fmla="*/ 1389888 w 7628567"/>
                <a:gd name="connsiteY52" fmla="*/ 1877568 h 6760349"/>
                <a:gd name="connsiteX53" fmla="*/ 1280160 w 7628567"/>
                <a:gd name="connsiteY53" fmla="*/ 1950720 h 6760349"/>
                <a:gd name="connsiteX54" fmla="*/ 1243584 w 7628567"/>
                <a:gd name="connsiteY54" fmla="*/ 1975104 h 6760349"/>
                <a:gd name="connsiteX55" fmla="*/ 1207008 w 7628567"/>
                <a:gd name="connsiteY55" fmla="*/ 1999488 h 6760349"/>
                <a:gd name="connsiteX56" fmla="*/ 1109472 w 7628567"/>
                <a:gd name="connsiteY56" fmla="*/ 2109216 h 6760349"/>
                <a:gd name="connsiteX57" fmla="*/ 1121664 w 7628567"/>
                <a:gd name="connsiteY57" fmla="*/ 2182368 h 6760349"/>
                <a:gd name="connsiteX58" fmla="*/ 1158240 w 7628567"/>
                <a:gd name="connsiteY58" fmla="*/ 2194560 h 6760349"/>
                <a:gd name="connsiteX59" fmla="*/ 1402080 w 7628567"/>
                <a:gd name="connsiteY59" fmla="*/ 2170176 h 6760349"/>
                <a:gd name="connsiteX60" fmla="*/ 1475232 w 7628567"/>
                <a:gd name="connsiteY60" fmla="*/ 2145792 h 6760349"/>
                <a:gd name="connsiteX61" fmla="*/ 1548384 w 7628567"/>
                <a:gd name="connsiteY61" fmla="*/ 2097024 h 6760349"/>
                <a:gd name="connsiteX62" fmla="*/ 1560576 w 7628567"/>
                <a:gd name="connsiteY62" fmla="*/ 2060448 h 6760349"/>
                <a:gd name="connsiteX63" fmla="*/ 1597152 w 7628567"/>
                <a:gd name="connsiteY63" fmla="*/ 2036064 h 6760349"/>
                <a:gd name="connsiteX64" fmla="*/ 1670304 w 7628567"/>
                <a:gd name="connsiteY64" fmla="*/ 1975104 h 6760349"/>
                <a:gd name="connsiteX65" fmla="*/ 1694688 w 7628567"/>
                <a:gd name="connsiteY65" fmla="*/ 1938528 h 6760349"/>
                <a:gd name="connsiteX66" fmla="*/ 1804416 w 7628567"/>
                <a:gd name="connsiteY66" fmla="*/ 1877568 h 6760349"/>
                <a:gd name="connsiteX67" fmla="*/ 1840992 w 7628567"/>
                <a:gd name="connsiteY67" fmla="*/ 1901952 h 6760349"/>
                <a:gd name="connsiteX68" fmla="*/ 1877568 w 7628567"/>
                <a:gd name="connsiteY68" fmla="*/ 1914144 h 6760349"/>
                <a:gd name="connsiteX69" fmla="*/ 1901952 w 7628567"/>
                <a:gd name="connsiteY69" fmla="*/ 1950720 h 6760349"/>
                <a:gd name="connsiteX70" fmla="*/ 1975104 w 7628567"/>
                <a:gd name="connsiteY70" fmla="*/ 1987296 h 6760349"/>
                <a:gd name="connsiteX71" fmla="*/ 1999488 w 7628567"/>
                <a:gd name="connsiteY71" fmla="*/ 2023872 h 6760349"/>
                <a:gd name="connsiteX72" fmla="*/ 2072640 w 7628567"/>
                <a:gd name="connsiteY72" fmla="*/ 2048256 h 6760349"/>
                <a:gd name="connsiteX73" fmla="*/ 2060448 w 7628567"/>
                <a:gd name="connsiteY73" fmla="*/ 2157984 h 6760349"/>
                <a:gd name="connsiteX74" fmla="*/ 2072640 w 7628567"/>
                <a:gd name="connsiteY74" fmla="*/ 2206752 h 6760349"/>
                <a:gd name="connsiteX75" fmla="*/ 2133600 w 7628567"/>
                <a:gd name="connsiteY75" fmla="*/ 2194560 h 6760349"/>
                <a:gd name="connsiteX76" fmla="*/ 2170176 w 7628567"/>
                <a:gd name="connsiteY76" fmla="*/ 2182368 h 6760349"/>
                <a:gd name="connsiteX77" fmla="*/ 2267712 w 7628567"/>
                <a:gd name="connsiteY77" fmla="*/ 2170176 h 6760349"/>
                <a:gd name="connsiteX78" fmla="*/ 2304288 w 7628567"/>
                <a:gd name="connsiteY78" fmla="*/ 2182368 h 6760349"/>
                <a:gd name="connsiteX79" fmla="*/ 2340864 w 7628567"/>
                <a:gd name="connsiteY79" fmla="*/ 2170176 h 6760349"/>
                <a:gd name="connsiteX80" fmla="*/ 2462784 w 7628567"/>
                <a:gd name="connsiteY80" fmla="*/ 2157984 h 6760349"/>
                <a:gd name="connsiteX81" fmla="*/ 2609088 w 7628567"/>
                <a:gd name="connsiteY81" fmla="*/ 2133600 h 6760349"/>
                <a:gd name="connsiteX82" fmla="*/ 2645664 w 7628567"/>
                <a:gd name="connsiteY82" fmla="*/ 2145792 h 6760349"/>
                <a:gd name="connsiteX83" fmla="*/ 2694432 w 7628567"/>
                <a:gd name="connsiteY83" fmla="*/ 2157984 h 6760349"/>
                <a:gd name="connsiteX84" fmla="*/ 2670048 w 7628567"/>
                <a:gd name="connsiteY84" fmla="*/ 2194560 h 6760349"/>
                <a:gd name="connsiteX85" fmla="*/ 2633472 w 7628567"/>
                <a:gd name="connsiteY85" fmla="*/ 2206752 h 6760349"/>
                <a:gd name="connsiteX86" fmla="*/ 2560320 w 7628567"/>
                <a:gd name="connsiteY86" fmla="*/ 2243328 h 6760349"/>
                <a:gd name="connsiteX87" fmla="*/ 2535936 w 7628567"/>
                <a:gd name="connsiteY87" fmla="*/ 2279904 h 6760349"/>
                <a:gd name="connsiteX88" fmla="*/ 2645664 w 7628567"/>
                <a:gd name="connsiteY88" fmla="*/ 2328672 h 6760349"/>
                <a:gd name="connsiteX89" fmla="*/ 2731008 w 7628567"/>
                <a:gd name="connsiteY89" fmla="*/ 2340864 h 6760349"/>
                <a:gd name="connsiteX90" fmla="*/ 2767584 w 7628567"/>
                <a:gd name="connsiteY90" fmla="*/ 2365248 h 6760349"/>
                <a:gd name="connsiteX91" fmla="*/ 2767584 w 7628567"/>
                <a:gd name="connsiteY91" fmla="*/ 2450592 h 6760349"/>
                <a:gd name="connsiteX92" fmla="*/ 2743200 w 7628567"/>
                <a:gd name="connsiteY92" fmla="*/ 2523744 h 6760349"/>
                <a:gd name="connsiteX93" fmla="*/ 2731008 w 7628567"/>
                <a:gd name="connsiteY93" fmla="*/ 2560320 h 6760349"/>
                <a:gd name="connsiteX94" fmla="*/ 2706624 w 7628567"/>
                <a:gd name="connsiteY94" fmla="*/ 2596896 h 6760349"/>
                <a:gd name="connsiteX95" fmla="*/ 2682240 w 7628567"/>
                <a:gd name="connsiteY95" fmla="*/ 2670048 h 6760349"/>
                <a:gd name="connsiteX96" fmla="*/ 2560320 w 7628567"/>
                <a:gd name="connsiteY96" fmla="*/ 2731008 h 6760349"/>
                <a:gd name="connsiteX97" fmla="*/ 2523744 w 7628567"/>
                <a:gd name="connsiteY97" fmla="*/ 2889504 h 6760349"/>
                <a:gd name="connsiteX98" fmla="*/ 2511552 w 7628567"/>
                <a:gd name="connsiteY98" fmla="*/ 2950464 h 6760349"/>
                <a:gd name="connsiteX99" fmla="*/ 2474976 w 7628567"/>
                <a:gd name="connsiteY99" fmla="*/ 2962656 h 6760349"/>
                <a:gd name="connsiteX100" fmla="*/ 2279904 w 7628567"/>
                <a:gd name="connsiteY100" fmla="*/ 2962656 h 6760349"/>
                <a:gd name="connsiteX101" fmla="*/ 2206752 w 7628567"/>
                <a:gd name="connsiteY101" fmla="*/ 2987040 h 6760349"/>
                <a:gd name="connsiteX102" fmla="*/ 2182368 w 7628567"/>
                <a:gd name="connsiteY102" fmla="*/ 3023616 h 6760349"/>
                <a:gd name="connsiteX103" fmla="*/ 2157984 w 7628567"/>
                <a:gd name="connsiteY103" fmla="*/ 3096768 h 6760349"/>
                <a:gd name="connsiteX104" fmla="*/ 2109216 w 7628567"/>
                <a:gd name="connsiteY104" fmla="*/ 3169920 h 6760349"/>
                <a:gd name="connsiteX105" fmla="*/ 2084832 w 7628567"/>
                <a:gd name="connsiteY105" fmla="*/ 3206496 h 6760349"/>
                <a:gd name="connsiteX106" fmla="*/ 2011680 w 7628567"/>
                <a:gd name="connsiteY106" fmla="*/ 3255264 h 6760349"/>
                <a:gd name="connsiteX107" fmla="*/ 1987296 w 7628567"/>
                <a:gd name="connsiteY107" fmla="*/ 3340608 h 6760349"/>
                <a:gd name="connsiteX108" fmla="*/ 1962912 w 7628567"/>
                <a:gd name="connsiteY108" fmla="*/ 3425952 h 6760349"/>
                <a:gd name="connsiteX109" fmla="*/ 1950720 w 7628567"/>
                <a:gd name="connsiteY109" fmla="*/ 3511296 h 6760349"/>
                <a:gd name="connsiteX110" fmla="*/ 1987296 w 7628567"/>
                <a:gd name="connsiteY110" fmla="*/ 3584448 h 6760349"/>
                <a:gd name="connsiteX111" fmla="*/ 2023872 w 7628567"/>
                <a:gd name="connsiteY111" fmla="*/ 3608832 h 6760349"/>
                <a:gd name="connsiteX112" fmla="*/ 2060448 w 7628567"/>
                <a:gd name="connsiteY112" fmla="*/ 3681984 h 6760349"/>
                <a:gd name="connsiteX113" fmla="*/ 2097024 w 7628567"/>
                <a:gd name="connsiteY113" fmla="*/ 3694176 h 6760349"/>
                <a:gd name="connsiteX114" fmla="*/ 2206752 w 7628567"/>
                <a:gd name="connsiteY114" fmla="*/ 3657600 h 6760349"/>
                <a:gd name="connsiteX115" fmla="*/ 2243328 w 7628567"/>
                <a:gd name="connsiteY115" fmla="*/ 3645408 h 6760349"/>
                <a:gd name="connsiteX116" fmla="*/ 2279904 w 7628567"/>
                <a:gd name="connsiteY116" fmla="*/ 3633216 h 6760349"/>
                <a:gd name="connsiteX117" fmla="*/ 2304288 w 7628567"/>
                <a:gd name="connsiteY117" fmla="*/ 3560064 h 6760349"/>
                <a:gd name="connsiteX118" fmla="*/ 2340864 w 7628567"/>
                <a:gd name="connsiteY118" fmla="*/ 3486912 h 6760349"/>
                <a:gd name="connsiteX119" fmla="*/ 2377440 w 7628567"/>
                <a:gd name="connsiteY119" fmla="*/ 3462528 h 6760349"/>
                <a:gd name="connsiteX120" fmla="*/ 2560320 w 7628567"/>
                <a:gd name="connsiteY120" fmla="*/ 3462528 h 6760349"/>
                <a:gd name="connsiteX121" fmla="*/ 2596896 w 7628567"/>
                <a:gd name="connsiteY121" fmla="*/ 3438144 h 6760349"/>
                <a:gd name="connsiteX122" fmla="*/ 2633472 w 7628567"/>
                <a:gd name="connsiteY122" fmla="*/ 3425952 h 6760349"/>
                <a:gd name="connsiteX123" fmla="*/ 2779776 w 7628567"/>
                <a:gd name="connsiteY123" fmla="*/ 3425952 h 6760349"/>
                <a:gd name="connsiteX124" fmla="*/ 2852928 w 7628567"/>
                <a:gd name="connsiteY124" fmla="*/ 3377184 h 6760349"/>
                <a:gd name="connsiteX125" fmla="*/ 2974848 w 7628567"/>
                <a:gd name="connsiteY125" fmla="*/ 3364992 h 6760349"/>
                <a:gd name="connsiteX126" fmla="*/ 3023616 w 7628567"/>
                <a:gd name="connsiteY126" fmla="*/ 3291840 h 6760349"/>
                <a:gd name="connsiteX127" fmla="*/ 3035808 w 7628567"/>
                <a:gd name="connsiteY127" fmla="*/ 3255264 h 6760349"/>
                <a:gd name="connsiteX128" fmla="*/ 3072384 w 7628567"/>
                <a:gd name="connsiteY128" fmla="*/ 3230880 h 6760349"/>
                <a:gd name="connsiteX129" fmla="*/ 3169920 w 7628567"/>
                <a:gd name="connsiteY129" fmla="*/ 3218688 h 6760349"/>
                <a:gd name="connsiteX130" fmla="*/ 3206496 w 7628567"/>
                <a:gd name="connsiteY130" fmla="*/ 3194304 h 6760349"/>
                <a:gd name="connsiteX131" fmla="*/ 3218688 w 7628567"/>
                <a:gd name="connsiteY131" fmla="*/ 3157728 h 6760349"/>
                <a:gd name="connsiteX132" fmla="*/ 3291840 w 7628567"/>
                <a:gd name="connsiteY132" fmla="*/ 3182112 h 6760349"/>
                <a:gd name="connsiteX133" fmla="*/ 3328416 w 7628567"/>
                <a:gd name="connsiteY133" fmla="*/ 3194304 h 6760349"/>
                <a:gd name="connsiteX134" fmla="*/ 3352800 w 7628567"/>
                <a:gd name="connsiteY134" fmla="*/ 3157728 h 6760349"/>
                <a:gd name="connsiteX135" fmla="*/ 3364992 w 7628567"/>
                <a:gd name="connsiteY135" fmla="*/ 3121152 h 6760349"/>
                <a:gd name="connsiteX136" fmla="*/ 3401568 w 7628567"/>
                <a:gd name="connsiteY136" fmla="*/ 3108960 h 6760349"/>
                <a:gd name="connsiteX137" fmla="*/ 3389376 w 7628567"/>
                <a:gd name="connsiteY137" fmla="*/ 3194304 h 6760349"/>
                <a:gd name="connsiteX138" fmla="*/ 3364992 w 7628567"/>
                <a:gd name="connsiteY138" fmla="*/ 3401568 h 6760349"/>
                <a:gd name="connsiteX139" fmla="*/ 3340608 w 7628567"/>
                <a:gd name="connsiteY139" fmla="*/ 3486912 h 6760349"/>
                <a:gd name="connsiteX140" fmla="*/ 3316224 w 7628567"/>
                <a:gd name="connsiteY140" fmla="*/ 3584448 h 6760349"/>
                <a:gd name="connsiteX141" fmla="*/ 3304032 w 7628567"/>
                <a:gd name="connsiteY141" fmla="*/ 3621024 h 6760349"/>
                <a:gd name="connsiteX142" fmla="*/ 3279648 w 7628567"/>
                <a:gd name="connsiteY142" fmla="*/ 3742944 h 6760349"/>
                <a:gd name="connsiteX143" fmla="*/ 3267456 w 7628567"/>
                <a:gd name="connsiteY143" fmla="*/ 3779520 h 6760349"/>
                <a:gd name="connsiteX144" fmla="*/ 3243072 w 7628567"/>
                <a:gd name="connsiteY144" fmla="*/ 3889248 h 6760349"/>
                <a:gd name="connsiteX145" fmla="*/ 3255264 w 7628567"/>
                <a:gd name="connsiteY145" fmla="*/ 3938016 h 6760349"/>
                <a:gd name="connsiteX146" fmla="*/ 3267456 w 7628567"/>
                <a:gd name="connsiteY146" fmla="*/ 3998976 h 6760349"/>
                <a:gd name="connsiteX147" fmla="*/ 3291840 w 7628567"/>
                <a:gd name="connsiteY147" fmla="*/ 4072128 h 6760349"/>
                <a:gd name="connsiteX148" fmla="*/ 3316224 w 7628567"/>
                <a:gd name="connsiteY148" fmla="*/ 4145280 h 6760349"/>
                <a:gd name="connsiteX149" fmla="*/ 3328416 w 7628567"/>
                <a:gd name="connsiteY149" fmla="*/ 4181856 h 6760349"/>
                <a:gd name="connsiteX150" fmla="*/ 3340608 w 7628567"/>
                <a:gd name="connsiteY150" fmla="*/ 4230624 h 6760349"/>
                <a:gd name="connsiteX151" fmla="*/ 3364992 w 7628567"/>
                <a:gd name="connsiteY151" fmla="*/ 4328160 h 6760349"/>
                <a:gd name="connsiteX152" fmla="*/ 3377184 w 7628567"/>
                <a:gd name="connsiteY152" fmla="*/ 4376928 h 6760349"/>
                <a:gd name="connsiteX153" fmla="*/ 3450336 w 7628567"/>
                <a:gd name="connsiteY153" fmla="*/ 4413504 h 6760349"/>
                <a:gd name="connsiteX154" fmla="*/ 3462528 w 7628567"/>
                <a:gd name="connsiteY154" fmla="*/ 4450080 h 6760349"/>
                <a:gd name="connsiteX155" fmla="*/ 3438144 w 7628567"/>
                <a:gd name="connsiteY155" fmla="*/ 4572000 h 6760349"/>
                <a:gd name="connsiteX156" fmla="*/ 3425952 w 7628567"/>
                <a:gd name="connsiteY156" fmla="*/ 4620768 h 6760349"/>
                <a:gd name="connsiteX157" fmla="*/ 3401568 w 7628567"/>
                <a:gd name="connsiteY157" fmla="*/ 4693920 h 6760349"/>
                <a:gd name="connsiteX158" fmla="*/ 3377184 w 7628567"/>
                <a:gd name="connsiteY158" fmla="*/ 4767072 h 6760349"/>
                <a:gd name="connsiteX159" fmla="*/ 3364992 w 7628567"/>
                <a:gd name="connsiteY159" fmla="*/ 4803648 h 6760349"/>
                <a:gd name="connsiteX160" fmla="*/ 3352800 w 7628567"/>
                <a:gd name="connsiteY160" fmla="*/ 4840224 h 6760349"/>
                <a:gd name="connsiteX161" fmla="*/ 3304032 w 7628567"/>
                <a:gd name="connsiteY161" fmla="*/ 4913376 h 6760349"/>
                <a:gd name="connsiteX162" fmla="*/ 3218688 w 7628567"/>
                <a:gd name="connsiteY162" fmla="*/ 5035296 h 6760349"/>
                <a:gd name="connsiteX163" fmla="*/ 3194304 w 7628567"/>
                <a:gd name="connsiteY163" fmla="*/ 5108448 h 6760349"/>
                <a:gd name="connsiteX164" fmla="*/ 3169920 w 7628567"/>
                <a:gd name="connsiteY164" fmla="*/ 5218176 h 6760349"/>
                <a:gd name="connsiteX165" fmla="*/ 3157728 w 7628567"/>
                <a:gd name="connsiteY165" fmla="*/ 5291328 h 6760349"/>
                <a:gd name="connsiteX166" fmla="*/ 3145536 w 7628567"/>
                <a:gd name="connsiteY166" fmla="*/ 5340096 h 6760349"/>
                <a:gd name="connsiteX167" fmla="*/ 3108960 w 7628567"/>
                <a:gd name="connsiteY167" fmla="*/ 5608320 h 6760349"/>
                <a:gd name="connsiteX168" fmla="*/ 3096768 w 7628567"/>
                <a:gd name="connsiteY168" fmla="*/ 5693664 h 6760349"/>
                <a:gd name="connsiteX169" fmla="*/ 3060192 w 7628567"/>
                <a:gd name="connsiteY169" fmla="*/ 6327648 h 6760349"/>
                <a:gd name="connsiteX170" fmla="*/ 3060192 w 7628567"/>
                <a:gd name="connsiteY170" fmla="*/ 6400800 h 6760349"/>
                <a:gd name="connsiteX171" fmla="*/ 3048000 w 7628567"/>
                <a:gd name="connsiteY171" fmla="*/ 6644640 h 6760349"/>
                <a:gd name="connsiteX172" fmla="*/ 3060192 w 7628567"/>
                <a:gd name="connsiteY172" fmla="*/ 6681216 h 6760349"/>
                <a:gd name="connsiteX173" fmla="*/ 3194304 w 7628567"/>
                <a:gd name="connsiteY173" fmla="*/ 6742176 h 6760349"/>
                <a:gd name="connsiteX174" fmla="*/ 3230880 w 7628567"/>
                <a:gd name="connsiteY174" fmla="*/ 6729984 h 6760349"/>
                <a:gd name="connsiteX175" fmla="*/ 3547872 w 7628567"/>
                <a:gd name="connsiteY175" fmla="*/ 6729984 h 6760349"/>
                <a:gd name="connsiteX176" fmla="*/ 3669792 w 7628567"/>
                <a:gd name="connsiteY176" fmla="*/ 6705600 h 6760349"/>
                <a:gd name="connsiteX177" fmla="*/ 4364736 w 7628567"/>
                <a:gd name="connsiteY177" fmla="*/ 6681216 h 6760349"/>
                <a:gd name="connsiteX178" fmla="*/ 4511040 w 7628567"/>
                <a:gd name="connsiteY178" fmla="*/ 6656832 h 6760349"/>
                <a:gd name="connsiteX179" fmla="*/ 4608576 w 7628567"/>
                <a:gd name="connsiteY179" fmla="*/ 6644640 h 6760349"/>
                <a:gd name="connsiteX180" fmla="*/ 4669536 w 7628567"/>
                <a:gd name="connsiteY180" fmla="*/ 6632448 h 6760349"/>
                <a:gd name="connsiteX181" fmla="*/ 4754880 w 7628567"/>
                <a:gd name="connsiteY181" fmla="*/ 6620256 h 6760349"/>
                <a:gd name="connsiteX182" fmla="*/ 4840224 w 7628567"/>
                <a:gd name="connsiteY182" fmla="*/ 6595872 h 6760349"/>
                <a:gd name="connsiteX183" fmla="*/ 5084064 w 7628567"/>
                <a:gd name="connsiteY183" fmla="*/ 6571488 h 6760349"/>
                <a:gd name="connsiteX184" fmla="*/ 5157216 w 7628567"/>
                <a:gd name="connsiteY184" fmla="*/ 6559296 h 6760349"/>
                <a:gd name="connsiteX185" fmla="*/ 5205984 w 7628567"/>
                <a:gd name="connsiteY185" fmla="*/ 6547104 h 6760349"/>
                <a:gd name="connsiteX186" fmla="*/ 5303520 w 7628567"/>
                <a:gd name="connsiteY186" fmla="*/ 6534912 h 6760349"/>
                <a:gd name="connsiteX187" fmla="*/ 5401056 w 7628567"/>
                <a:gd name="connsiteY187" fmla="*/ 6510528 h 6760349"/>
                <a:gd name="connsiteX188" fmla="*/ 5474208 w 7628567"/>
                <a:gd name="connsiteY188" fmla="*/ 6498336 h 6760349"/>
                <a:gd name="connsiteX189" fmla="*/ 5632704 w 7628567"/>
                <a:gd name="connsiteY189" fmla="*/ 6486144 h 6760349"/>
                <a:gd name="connsiteX190" fmla="*/ 5718048 w 7628567"/>
                <a:gd name="connsiteY190" fmla="*/ 6473952 h 6760349"/>
                <a:gd name="connsiteX191" fmla="*/ 5876544 w 7628567"/>
                <a:gd name="connsiteY191" fmla="*/ 6461760 h 6760349"/>
                <a:gd name="connsiteX192" fmla="*/ 5961888 w 7628567"/>
                <a:gd name="connsiteY192" fmla="*/ 6449568 h 6760349"/>
                <a:gd name="connsiteX193" fmla="*/ 6059424 w 7628567"/>
                <a:gd name="connsiteY193" fmla="*/ 6437376 h 6760349"/>
                <a:gd name="connsiteX194" fmla="*/ 6132576 w 7628567"/>
                <a:gd name="connsiteY194" fmla="*/ 6412992 h 6760349"/>
                <a:gd name="connsiteX195" fmla="*/ 6205728 w 7628567"/>
                <a:gd name="connsiteY195" fmla="*/ 6364224 h 6760349"/>
                <a:gd name="connsiteX196" fmla="*/ 6230112 w 7628567"/>
                <a:gd name="connsiteY196" fmla="*/ 6327648 h 6760349"/>
                <a:gd name="connsiteX197" fmla="*/ 6254496 w 7628567"/>
                <a:gd name="connsiteY197" fmla="*/ 6254496 h 6760349"/>
                <a:gd name="connsiteX198" fmla="*/ 6242304 w 7628567"/>
                <a:gd name="connsiteY198" fmla="*/ 6108192 h 6760349"/>
                <a:gd name="connsiteX199" fmla="*/ 6254496 w 7628567"/>
                <a:gd name="connsiteY199" fmla="*/ 6035040 h 6760349"/>
                <a:gd name="connsiteX200" fmla="*/ 6230112 w 7628567"/>
                <a:gd name="connsiteY200" fmla="*/ 5522976 h 6760349"/>
                <a:gd name="connsiteX201" fmla="*/ 6217920 w 7628567"/>
                <a:gd name="connsiteY201" fmla="*/ 5413248 h 6760349"/>
                <a:gd name="connsiteX202" fmla="*/ 6205728 w 7628567"/>
                <a:gd name="connsiteY202" fmla="*/ 5230368 h 6760349"/>
                <a:gd name="connsiteX203" fmla="*/ 6193536 w 7628567"/>
                <a:gd name="connsiteY203" fmla="*/ 5157216 h 6760349"/>
                <a:gd name="connsiteX204" fmla="*/ 6181344 w 7628567"/>
                <a:gd name="connsiteY204" fmla="*/ 5059680 h 6760349"/>
                <a:gd name="connsiteX205" fmla="*/ 6156960 w 7628567"/>
                <a:gd name="connsiteY205" fmla="*/ 4840224 h 6760349"/>
                <a:gd name="connsiteX206" fmla="*/ 6132576 w 7628567"/>
                <a:gd name="connsiteY206" fmla="*/ 4730496 h 6760349"/>
                <a:gd name="connsiteX207" fmla="*/ 6120384 w 7628567"/>
                <a:gd name="connsiteY207" fmla="*/ 4681728 h 6760349"/>
                <a:gd name="connsiteX208" fmla="*/ 6108192 w 7628567"/>
                <a:gd name="connsiteY208" fmla="*/ 4596384 h 6760349"/>
                <a:gd name="connsiteX209" fmla="*/ 6083808 w 7628567"/>
                <a:gd name="connsiteY209" fmla="*/ 4450080 h 6760349"/>
                <a:gd name="connsiteX210" fmla="*/ 6071616 w 7628567"/>
                <a:gd name="connsiteY210" fmla="*/ 4376928 h 6760349"/>
                <a:gd name="connsiteX211" fmla="*/ 6059424 w 7628567"/>
                <a:gd name="connsiteY211" fmla="*/ 4328160 h 6760349"/>
                <a:gd name="connsiteX212" fmla="*/ 6047232 w 7628567"/>
                <a:gd name="connsiteY212" fmla="*/ 4255008 h 6760349"/>
                <a:gd name="connsiteX213" fmla="*/ 6022848 w 7628567"/>
                <a:gd name="connsiteY213" fmla="*/ 4059936 h 6760349"/>
                <a:gd name="connsiteX214" fmla="*/ 6010656 w 7628567"/>
                <a:gd name="connsiteY214" fmla="*/ 3938016 h 6760349"/>
                <a:gd name="connsiteX215" fmla="*/ 5986272 w 7628567"/>
                <a:gd name="connsiteY215" fmla="*/ 3755136 h 6760349"/>
                <a:gd name="connsiteX216" fmla="*/ 5974080 w 7628567"/>
                <a:gd name="connsiteY216" fmla="*/ 3681984 h 6760349"/>
                <a:gd name="connsiteX217" fmla="*/ 5961888 w 7628567"/>
                <a:gd name="connsiteY217" fmla="*/ 3584448 h 6760349"/>
                <a:gd name="connsiteX218" fmla="*/ 5949696 w 7628567"/>
                <a:gd name="connsiteY218" fmla="*/ 3547872 h 6760349"/>
                <a:gd name="connsiteX219" fmla="*/ 5937504 w 7628567"/>
                <a:gd name="connsiteY219" fmla="*/ 3499104 h 6760349"/>
                <a:gd name="connsiteX220" fmla="*/ 5900928 w 7628567"/>
                <a:gd name="connsiteY220" fmla="*/ 3267456 h 6760349"/>
                <a:gd name="connsiteX221" fmla="*/ 5888736 w 7628567"/>
                <a:gd name="connsiteY221" fmla="*/ 3206496 h 6760349"/>
                <a:gd name="connsiteX222" fmla="*/ 5876544 w 7628567"/>
                <a:gd name="connsiteY222" fmla="*/ 3133344 h 6760349"/>
                <a:gd name="connsiteX223" fmla="*/ 5864352 w 7628567"/>
                <a:gd name="connsiteY223" fmla="*/ 3072384 h 6760349"/>
                <a:gd name="connsiteX224" fmla="*/ 5852160 w 7628567"/>
                <a:gd name="connsiteY224" fmla="*/ 2962656 h 6760349"/>
                <a:gd name="connsiteX225" fmla="*/ 5839968 w 7628567"/>
                <a:gd name="connsiteY225" fmla="*/ 2877312 h 6760349"/>
                <a:gd name="connsiteX226" fmla="*/ 5876544 w 7628567"/>
                <a:gd name="connsiteY226" fmla="*/ 2645664 h 6760349"/>
                <a:gd name="connsiteX227" fmla="*/ 5949696 w 7628567"/>
                <a:gd name="connsiteY227" fmla="*/ 2535936 h 6760349"/>
                <a:gd name="connsiteX228" fmla="*/ 5974080 w 7628567"/>
                <a:gd name="connsiteY228" fmla="*/ 2499360 h 6760349"/>
                <a:gd name="connsiteX229" fmla="*/ 6071616 w 7628567"/>
                <a:gd name="connsiteY229" fmla="*/ 2206752 h 6760349"/>
                <a:gd name="connsiteX230" fmla="*/ 6108192 w 7628567"/>
                <a:gd name="connsiteY230" fmla="*/ 2097024 h 6760349"/>
                <a:gd name="connsiteX231" fmla="*/ 6120384 w 7628567"/>
                <a:gd name="connsiteY231" fmla="*/ 2060448 h 6760349"/>
                <a:gd name="connsiteX232" fmla="*/ 6144768 w 7628567"/>
                <a:gd name="connsiteY232" fmla="*/ 2023872 h 6760349"/>
                <a:gd name="connsiteX233" fmla="*/ 6156960 w 7628567"/>
                <a:gd name="connsiteY233" fmla="*/ 1987296 h 6760349"/>
                <a:gd name="connsiteX234" fmla="*/ 6205728 w 7628567"/>
                <a:gd name="connsiteY234" fmla="*/ 1914144 h 6760349"/>
                <a:gd name="connsiteX235" fmla="*/ 6266688 w 7628567"/>
                <a:gd name="connsiteY235" fmla="*/ 1840992 h 6760349"/>
                <a:gd name="connsiteX236" fmla="*/ 6339840 w 7628567"/>
                <a:gd name="connsiteY236" fmla="*/ 1792224 h 6760349"/>
                <a:gd name="connsiteX237" fmla="*/ 6412992 w 7628567"/>
                <a:gd name="connsiteY237" fmla="*/ 1767840 h 6760349"/>
                <a:gd name="connsiteX238" fmla="*/ 6571488 w 7628567"/>
                <a:gd name="connsiteY238" fmla="*/ 1743456 h 6760349"/>
                <a:gd name="connsiteX239" fmla="*/ 6705600 w 7628567"/>
                <a:gd name="connsiteY239" fmla="*/ 1767840 h 6760349"/>
                <a:gd name="connsiteX240" fmla="*/ 7010400 w 7628567"/>
                <a:gd name="connsiteY240" fmla="*/ 1804416 h 6760349"/>
                <a:gd name="connsiteX241" fmla="*/ 7095744 w 7628567"/>
                <a:gd name="connsiteY241" fmla="*/ 1816608 h 6760349"/>
                <a:gd name="connsiteX242" fmla="*/ 7242048 w 7628567"/>
                <a:gd name="connsiteY242" fmla="*/ 1828800 h 6760349"/>
                <a:gd name="connsiteX243" fmla="*/ 7351776 w 7628567"/>
                <a:gd name="connsiteY243" fmla="*/ 1840992 h 6760349"/>
                <a:gd name="connsiteX244" fmla="*/ 7510272 w 7628567"/>
                <a:gd name="connsiteY244" fmla="*/ 1828800 h 6760349"/>
                <a:gd name="connsiteX245" fmla="*/ 7583424 w 7628567"/>
                <a:gd name="connsiteY245" fmla="*/ 1816608 h 676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7628567" h="6760349">
                  <a:moveTo>
                    <a:pt x="1450848" y="0"/>
                  </a:moveTo>
                  <a:cubicBezTo>
                    <a:pt x="1426464" y="4064"/>
                    <a:pt x="1401828" y="6829"/>
                    <a:pt x="1377696" y="12192"/>
                  </a:cubicBezTo>
                  <a:cubicBezTo>
                    <a:pt x="1365151" y="14980"/>
                    <a:pt x="1353722" y="21864"/>
                    <a:pt x="1341120" y="24384"/>
                  </a:cubicBezTo>
                  <a:cubicBezTo>
                    <a:pt x="1239020" y="44804"/>
                    <a:pt x="1264506" y="25538"/>
                    <a:pt x="1158240" y="60960"/>
                  </a:cubicBezTo>
                  <a:lnTo>
                    <a:pt x="1011936" y="109728"/>
                  </a:lnTo>
                  <a:lnTo>
                    <a:pt x="902208" y="146304"/>
                  </a:lnTo>
                  <a:cubicBezTo>
                    <a:pt x="890016" y="150368"/>
                    <a:pt x="876325" y="151367"/>
                    <a:pt x="865632" y="158496"/>
                  </a:cubicBezTo>
                  <a:lnTo>
                    <a:pt x="755904" y="231648"/>
                  </a:lnTo>
                  <a:cubicBezTo>
                    <a:pt x="743712" y="239776"/>
                    <a:pt x="733543" y="252478"/>
                    <a:pt x="719328" y="256032"/>
                  </a:cubicBezTo>
                  <a:lnTo>
                    <a:pt x="573024" y="292608"/>
                  </a:lnTo>
                  <a:cubicBezTo>
                    <a:pt x="556768" y="296672"/>
                    <a:pt x="540152" y="299501"/>
                    <a:pt x="524256" y="304800"/>
                  </a:cubicBezTo>
                  <a:lnTo>
                    <a:pt x="341376" y="365760"/>
                  </a:lnTo>
                  <a:lnTo>
                    <a:pt x="304800" y="377952"/>
                  </a:lnTo>
                  <a:cubicBezTo>
                    <a:pt x="292608" y="382016"/>
                    <a:pt x="278917" y="383015"/>
                    <a:pt x="268224" y="390144"/>
                  </a:cubicBezTo>
                  <a:lnTo>
                    <a:pt x="158496" y="463296"/>
                  </a:lnTo>
                  <a:lnTo>
                    <a:pt x="121920" y="487680"/>
                  </a:lnTo>
                  <a:cubicBezTo>
                    <a:pt x="52039" y="592502"/>
                    <a:pt x="145088" y="469145"/>
                    <a:pt x="60960" y="536448"/>
                  </a:cubicBezTo>
                  <a:cubicBezTo>
                    <a:pt x="49518" y="545602"/>
                    <a:pt x="42527" y="559634"/>
                    <a:pt x="36576" y="573024"/>
                  </a:cubicBezTo>
                  <a:cubicBezTo>
                    <a:pt x="19614" y="611188"/>
                    <a:pt x="10133" y="654413"/>
                    <a:pt x="0" y="694944"/>
                  </a:cubicBezTo>
                  <a:cubicBezTo>
                    <a:pt x="4064" y="707136"/>
                    <a:pt x="1734" y="724050"/>
                    <a:pt x="12192" y="731520"/>
                  </a:cubicBezTo>
                  <a:cubicBezTo>
                    <a:pt x="33107" y="746460"/>
                    <a:pt x="60960" y="747776"/>
                    <a:pt x="85344" y="755904"/>
                  </a:cubicBezTo>
                  <a:cubicBezTo>
                    <a:pt x="155447" y="779272"/>
                    <a:pt x="95188" y="761609"/>
                    <a:pt x="207264" y="780288"/>
                  </a:cubicBezTo>
                  <a:cubicBezTo>
                    <a:pt x="227704" y="783695"/>
                    <a:pt x="247710" y="789549"/>
                    <a:pt x="268224" y="792480"/>
                  </a:cubicBezTo>
                  <a:cubicBezTo>
                    <a:pt x="304655" y="797684"/>
                    <a:pt x="341244" y="802050"/>
                    <a:pt x="377952" y="804672"/>
                  </a:cubicBezTo>
                  <a:cubicBezTo>
                    <a:pt x="455078" y="810181"/>
                    <a:pt x="532384" y="812800"/>
                    <a:pt x="609600" y="816864"/>
                  </a:cubicBezTo>
                  <a:cubicBezTo>
                    <a:pt x="638048" y="820928"/>
                    <a:pt x="666943" y="822594"/>
                    <a:pt x="694944" y="829056"/>
                  </a:cubicBezTo>
                  <a:cubicBezTo>
                    <a:pt x="719989" y="834836"/>
                    <a:pt x="768096" y="853440"/>
                    <a:pt x="768096" y="853440"/>
                  </a:cubicBezTo>
                  <a:cubicBezTo>
                    <a:pt x="797328" y="941137"/>
                    <a:pt x="768096" y="831621"/>
                    <a:pt x="768096" y="938784"/>
                  </a:cubicBezTo>
                  <a:cubicBezTo>
                    <a:pt x="768096" y="1012049"/>
                    <a:pt x="765920" y="1086398"/>
                    <a:pt x="780288" y="1158240"/>
                  </a:cubicBezTo>
                  <a:cubicBezTo>
                    <a:pt x="783162" y="1172608"/>
                    <a:pt x="804672" y="1174496"/>
                    <a:pt x="816864" y="1182624"/>
                  </a:cubicBezTo>
                  <a:cubicBezTo>
                    <a:pt x="886611" y="1168675"/>
                    <a:pt x="894167" y="1165621"/>
                    <a:pt x="975360" y="1158240"/>
                  </a:cubicBezTo>
                  <a:cubicBezTo>
                    <a:pt x="1032167" y="1153076"/>
                    <a:pt x="1089175" y="1150423"/>
                    <a:pt x="1146048" y="1146048"/>
                  </a:cubicBezTo>
                  <a:lnTo>
                    <a:pt x="1292352" y="1133856"/>
                  </a:lnTo>
                  <a:lnTo>
                    <a:pt x="1438656" y="1097280"/>
                  </a:lnTo>
                  <a:lnTo>
                    <a:pt x="1487424" y="1085088"/>
                  </a:lnTo>
                  <a:lnTo>
                    <a:pt x="1633728" y="1133856"/>
                  </a:lnTo>
                  <a:cubicBezTo>
                    <a:pt x="1645920" y="1137920"/>
                    <a:pt x="1659611" y="1138919"/>
                    <a:pt x="1670304" y="1146048"/>
                  </a:cubicBezTo>
                  <a:cubicBezTo>
                    <a:pt x="1682496" y="1154176"/>
                    <a:pt x="1693774" y="1163879"/>
                    <a:pt x="1706880" y="1170432"/>
                  </a:cubicBezTo>
                  <a:cubicBezTo>
                    <a:pt x="1718375" y="1176179"/>
                    <a:pt x="1732222" y="1176383"/>
                    <a:pt x="1743456" y="1182624"/>
                  </a:cubicBezTo>
                  <a:cubicBezTo>
                    <a:pt x="1769074" y="1196856"/>
                    <a:pt x="1816608" y="1231392"/>
                    <a:pt x="1816608" y="1231392"/>
                  </a:cubicBezTo>
                  <a:cubicBezTo>
                    <a:pt x="1824736" y="1255776"/>
                    <a:pt x="1844627" y="1279099"/>
                    <a:pt x="1840992" y="1304544"/>
                  </a:cubicBezTo>
                  <a:cubicBezTo>
                    <a:pt x="1831125" y="1373614"/>
                    <a:pt x="1833032" y="1381171"/>
                    <a:pt x="1816608" y="1438656"/>
                  </a:cubicBezTo>
                  <a:cubicBezTo>
                    <a:pt x="1813077" y="1451013"/>
                    <a:pt x="1810657" y="1463998"/>
                    <a:pt x="1804416" y="1475232"/>
                  </a:cubicBezTo>
                  <a:cubicBezTo>
                    <a:pt x="1790184" y="1500850"/>
                    <a:pt x="1771904" y="1524000"/>
                    <a:pt x="1755648" y="1548384"/>
                  </a:cubicBezTo>
                  <a:lnTo>
                    <a:pt x="1731264" y="1584960"/>
                  </a:lnTo>
                  <a:cubicBezTo>
                    <a:pt x="1723136" y="1597152"/>
                    <a:pt x="1719072" y="1613408"/>
                    <a:pt x="1706880" y="1621536"/>
                  </a:cubicBezTo>
                  <a:cubicBezTo>
                    <a:pt x="1694688" y="1629664"/>
                    <a:pt x="1683410" y="1639367"/>
                    <a:pt x="1670304" y="1645920"/>
                  </a:cubicBezTo>
                  <a:cubicBezTo>
                    <a:pt x="1658809" y="1651667"/>
                    <a:pt x="1645920" y="1654048"/>
                    <a:pt x="1633728" y="1658112"/>
                  </a:cubicBezTo>
                  <a:cubicBezTo>
                    <a:pt x="1609344" y="1682496"/>
                    <a:pt x="1579704" y="1702571"/>
                    <a:pt x="1560576" y="1731264"/>
                  </a:cubicBezTo>
                  <a:cubicBezTo>
                    <a:pt x="1552448" y="1743456"/>
                    <a:pt x="1546553" y="1757479"/>
                    <a:pt x="1536192" y="1767840"/>
                  </a:cubicBezTo>
                  <a:cubicBezTo>
                    <a:pt x="1525831" y="1778201"/>
                    <a:pt x="1510873" y="1782843"/>
                    <a:pt x="1499616" y="1792224"/>
                  </a:cubicBezTo>
                  <a:cubicBezTo>
                    <a:pt x="1486370" y="1803262"/>
                    <a:pt x="1476650" y="1818214"/>
                    <a:pt x="1463040" y="1828800"/>
                  </a:cubicBezTo>
                  <a:cubicBezTo>
                    <a:pt x="1439907" y="1846792"/>
                    <a:pt x="1414272" y="1861312"/>
                    <a:pt x="1389888" y="1877568"/>
                  </a:cubicBezTo>
                  <a:lnTo>
                    <a:pt x="1280160" y="1950720"/>
                  </a:lnTo>
                  <a:lnTo>
                    <a:pt x="1243584" y="1975104"/>
                  </a:lnTo>
                  <a:cubicBezTo>
                    <a:pt x="1231392" y="1983232"/>
                    <a:pt x="1217369" y="1989127"/>
                    <a:pt x="1207008" y="1999488"/>
                  </a:cubicBezTo>
                  <a:cubicBezTo>
                    <a:pt x="1123495" y="2083001"/>
                    <a:pt x="1152984" y="2043947"/>
                    <a:pt x="1109472" y="2109216"/>
                  </a:cubicBezTo>
                  <a:cubicBezTo>
                    <a:pt x="1113536" y="2133600"/>
                    <a:pt x="1109399" y="2160905"/>
                    <a:pt x="1121664" y="2182368"/>
                  </a:cubicBezTo>
                  <a:cubicBezTo>
                    <a:pt x="1128040" y="2193526"/>
                    <a:pt x="1145389" y="2194560"/>
                    <a:pt x="1158240" y="2194560"/>
                  </a:cubicBezTo>
                  <a:cubicBezTo>
                    <a:pt x="1189288" y="2194560"/>
                    <a:pt x="1362281" y="2174598"/>
                    <a:pt x="1402080" y="2170176"/>
                  </a:cubicBezTo>
                  <a:cubicBezTo>
                    <a:pt x="1426464" y="2162048"/>
                    <a:pt x="1453846" y="2160049"/>
                    <a:pt x="1475232" y="2145792"/>
                  </a:cubicBezTo>
                  <a:lnTo>
                    <a:pt x="1548384" y="2097024"/>
                  </a:lnTo>
                  <a:cubicBezTo>
                    <a:pt x="1552448" y="2084832"/>
                    <a:pt x="1552548" y="2070483"/>
                    <a:pt x="1560576" y="2060448"/>
                  </a:cubicBezTo>
                  <a:cubicBezTo>
                    <a:pt x="1569730" y="2049006"/>
                    <a:pt x="1585895" y="2045445"/>
                    <a:pt x="1597152" y="2036064"/>
                  </a:cubicBezTo>
                  <a:cubicBezTo>
                    <a:pt x="1691026" y="1957835"/>
                    <a:pt x="1579493" y="2035645"/>
                    <a:pt x="1670304" y="1975104"/>
                  </a:cubicBezTo>
                  <a:cubicBezTo>
                    <a:pt x="1678432" y="1962912"/>
                    <a:pt x="1683661" y="1948177"/>
                    <a:pt x="1694688" y="1938528"/>
                  </a:cubicBezTo>
                  <a:cubicBezTo>
                    <a:pt x="1746285" y="1893381"/>
                    <a:pt x="1754180" y="1894313"/>
                    <a:pt x="1804416" y="1877568"/>
                  </a:cubicBezTo>
                  <a:cubicBezTo>
                    <a:pt x="1816608" y="1885696"/>
                    <a:pt x="1827886" y="1895399"/>
                    <a:pt x="1840992" y="1901952"/>
                  </a:cubicBezTo>
                  <a:cubicBezTo>
                    <a:pt x="1852487" y="1907699"/>
                    <a:pt x="1867533" y="1906116"/>
                    <a:pt x="1877568" y="1914144"/>
                  </a:cubicBezTo>
                  <a:cubicBezTo>
                    <a:pt x="1889010" y="1923298"/>
                    <a:pt x="1891591" y="1940359"/>
                    <a:pt x="1901952" y="1950720"/>
                  </a:cubicBezTo>
                  <a:cubicBezTo>
                    <a:pt x="1925587" y="1974355"/>
                    <a:pt x="1945356" y="1977380"/>
                    <a:pt x="1975104" y="1987296"/>
                  </a:cubicBezTo>
                  <a:cubicBezTo>
                    <a:pt x="1983232" y="1999488"/>
                    <a:pt x="1987062" y="2016106"/>
                    <a:pt x="1999488" y="2023872"/>
                  </a:cubicBezTo>
                  <a:cubicBezTo>
                    <a:pt x="2021284" y="2037495"/>
                    <a:pt x="2072640" y="2048256"/>
                    <a:pt x="2072640" y="2048256"/>
                  </a:cubicBezTo>
                  <a:cubicBezTo>
                    <a:pt x="2041066" y="2142978"/>
                    <a:pt x="2041691" y="2092335"/>
                    <a:pt x="2060448" y="2157984"/>
                  </a:cubicBezTo>
                  <a:cubicBezTo>
                    <a:pt x="2065051" y="2174096"/>
                    <a:pt x="2068576" y="2190496"/>
                    <a:pt x="2072640" y="2206752"/>
                  </a:cubicBezTo>
                  <a:cubicBezTo>
                    <a:pt x="2092960" y="2202688"/>
                    <a:pt x="2113496" y="2199586"/>
                    <a:pt x="2133600" y="2194560"/>
                  </a:cubicBezTo>
                  <a:cubicBezTo>
                    <a:pt x="2146068" y="2191443"/>
                    <a:pt x="2157532" y="2184667"/>
                    <a:pt x="2170176" y="2182368"/>
                  </a:cubicBezTo>
                  <a:cubicBezTo>
                    <a:pt x="2202413" y="2176507"/>
                    <a:pt x="2235200" y="2174240"/>
                    <a:pt x="2267712" y="2170176"/>
                  </a:cubicBezTo>
                  <a:cubicBezTo>
                    <a:pt x="2279904" y="2174240"/>
                    <a:pt x="2291437" y="2182368"/>
                    <a:pt x="2304288" y="2182368"/>
                  </a:cubicBezTo>
                  <a:cubicBezTo>
                    <a:pt x="2317139" y="2182368"/>
                    <a:pt x="2328162" y="2172130"/>
                    <a:pt x="2340864" y="2170176"/>
                  </a:cubicBezTo>
                  <a:cubicBezTo>
                    <a:pt x="2381232" y="2163966"/>
                    <a:pt x="2422144" y="2162048"/>
                    <a:pt x="2462784" y="2157984"/>
                  </a:cubicBezTo>
                  <a:cubicBezTo>
                    <a:pt x="2514147" y="2145143"/>
                    <a:pt x="2552007" y="2133600"/>
                    <a:pt x="2609088" y="2133600"/>
                  </a:cubicBezTo>
                  <a:cubicBezTo>
                    <a:pt x="2621939" y="2133600"/>
                    <a:pt x="2633307" y="2142261"/>
                    <a:pt x="2645664" y="2145792"/>
                  </a:cubicBezTo>
                  <a:cubicBezTo>
                    <a:pt x="2661776" y="2150395"/>
                    <a:pt x="2678176" y="2153920"/>
                    <a:pt x="2694432" y="2157984"/>
                  </a:cubicBezTo>
                  <a:cubicBezTo>
                    <a:pt x="2686304" y="2170176"/>
                    <a:pt x="2681490" y="2185406"/>
                    <a:pt x="2670048" y="2194560"/>
                  </a:cubicBezTo>
                  <a:cubicBezTo>
                    <a:pt x="2660013" y="2202588"/>
                    <a:pt x="2644967" y="2201005"/>
                    <a:pt x="2633472" y="2206752"/>
                  </a:cubicBezTo>
                  <a:cubicBezTo>
                    <a:pt x="2538934" y="2254021"/>
                    <a:pt x="2652255" y="2212683"/>
                    <a:pt x="2560320" y="2243328"/>
                  </a:cubicBezTo>
                  <a:cubicBezTo>
                    <a:pt x="2552192" y="2255520"/>
                    <a:pt x="2538345" y="2265450"/>
                    <a:pt x="2535936" y="2279904"/>
                  </a:cubicBezTo>
                  <a:cubicBezTo>
                    <a:pt x="2525336" y="2343504"/>
                    <a:pt x="2619900" y="2325237"/>
                    <a:pt x="2645664" y="2328672"/>
                  </a:cubicBezTo>
                  <a:lnTo>
                    <a:pt x="2731008" y="2340864"/>
                  </a:lnTo>
                  <a:cubicBezTo>
                    <a:pt x="2743200" y="2348992"/>
                    <a:pt x="2758430" y="2353806"/>
                    <a:pt x="2767584" y="2365248"/>
                  </a:cubicBezTo>
                  <a:cubicBezTo>
                    <a:pt x="2790045" y="2393325"/>
                    <a:pt x="2776412" y="2421164"/>
                    <a:pt x="2767584" y="2450592"/>
                  </a:cubicBezTo>
                  <a:cubicBezTo>
                    <a:pt x="2760198" y="2475211"/>
                    <a:pt x="2751328" y="2499360"/>
                    <a:pt x="2743200" y="2523744"/>
                  </a:cubicBezTo>
                  <a:cubicBezTo>
                    <a:pt x="2739136" y="2535936"/>
                    <a:pt x="2738137" y="2549627"/>
                    <a:pt x="2731008" y="2560320"/>
                  </a:cubicBezTo>
                  <a:cubicBezTo>
                    <a:pt x="2722880" y="2572512"/>
                    <a:pt x="2712575" y="2583506"/>
                    <a:pt x="2706624" y="2596896"/>
                  </a:cubicBezTo>
                  <a:cubicBezTo>
                    <a:pt x="2696185" y="2620384"/>
                    <a:pt x="2703626" y="2655791"/>
                    <a:pt x="2682240" y="2670048"/>
                  </a:cubicBezTo>
                  <a:cubicBezTo>
                    <a:pt x="2595146" y="2728111"/>
                    <a:pt x="2637519" y="2711708"/>
                    <a:pt x="2560320" y="2731008"/>
                  </a:cubicBezTo>
                  <a:cubicBezTo>
                    <a:pt x="2522130" y="2845578"/>
                    <a:pt x="2544847" y="2762888"/>
                    <a:pt x="2523744" y="2889504"/>
                  </a:cubicBezTo>
                  <a:cubicBezTo>
                    <a:pt x="2520337" y="2909944"/>
                    <a:pt x="2523047" y="2933222"/>
                    <a:pt x="2511552" y="2950464"/>
                  </a:cubicBezTo>
                  <a:cubicBezTo>
                    <a:pt x="2504423" y="2961157"/>
                    <a:pt x="2487168" y="2958592"/>
                    <a:pt x="2474976" y="2962656"/>
                  </a:cubicBezTo>
                  <a:cubicBezTo>
                    <a:pt x="2379151" y="2950678"/>
                    <a:pt x="2375729" y="2942122"/>
                    <a:pt x="2279904" y="2962656"/>
                  </a:cubicBezTo>
                  <a:cubicBezTo>
                    <a:pt x="2254772" y="2968042"/>
                    <a:pt x="2206752" y="2987040"/>
                    <a:pt x="2206752" y="2987040"/>
                  </a:cubicBezTo>
                  <a:cubicBezTo>
                    <a:pt x="2198624" y="2999232"/>
                    <a:pt x="2188319" y="3010226"/>
                    <a:pt x="2182368" y="3023616"/>
                  </a:cubicBezTo>
                  <a:cubicBezTo>
                    <a:pt x="2171929" y="3047104"/>
                    <a:pt x="2172241" y="3075382"/>
                    <a:pt x="2157984" y="3096768"/>
                  </a:cubicBezTo>
                  <a:lnTo>
                    <a:pt x="2109216" y="3169920"/>
                  </a:lnTo>
                  <a:cubicBezTo>
                    <a:pt x="2101088" y="3182112"/>
                    <a:pt x="2097024" y="3198368"/>
                    <a:pt x="2084832" y="3206496"/>
                  </a:cubicBezTo>
                  <a:lnTo>
                    <a:pt x="2011680" y="3255264"/>
                  </a:lnTo>
                  <a:cubicBezTo>
                    <a:pt x="1982448" y="3342961"/>
                    <a:pt x="2017914" y="3233445"/>
                    <a:pt x="1987296" y="3340608"/>
                  </a:cubicBezTo>
                  <a:cubicBezTo>
                    <a:pt x="1974239" y="3386309"/>
                    <a:pt x="1972441" y="3373545"/>
                    <a:pt x="1962912" y="3425952"/>
                  </a:cubicBezTo>
                  <a:cubicBezTo>
                    <a:pt x="1957771" y="3454225"/>
                    <a:pt x="1954784" y="3482848"/>
                    <a:pt x="1950720" y="3511296"/>
                  </a:cubicBezTo>
                  <a:cubicBezTo>
                    <a:pt x="1960636" y="3541044"/>
                    <a:pt x="1963661" y="3560813"/>
                    <a:pt x="1987296" y="3584448"/>
                  </a:cubicBezTo>
                  <a:cubicBezTo>
                    <a:pt x="1997657" y="3594809"/>
                    <a:pt x="2011680" y="3600704"/>
                    <a:pt x="2023872" y="3608832"/>
                  </a:cubicBezTo>
                  <a:cubicBezTo>
                    <a:pt x="2031904" y="3632927"/>
                    <a:pt x="2038962" y="3664795"/>
                    <a:pt x="2060448" y="3681984"/>
                  </a:cubicBezTo>
                  <a:cubicBezTo>
                    <a:pt x="2070483" y="3690012"/>
                    <a:pt x="2084832" y="3690112"/>
                    <a:pt x="2097024" y="3694176"/>
                  </a:cubicBezTo>
                  <a:lnTo>
                    <a:pt x="2206752" y="3657600"/>
                  </a:lnTo>
                  <a:lnTo>
                    <a:pt x="2243328" y="3645408"/>
                  </a:lnTo>
                  <a:lnTo>
                    <a:pt x="2279904" y="3633216"/>
                  </a:lnTo>
                  <a:lnTo>
                    <a:pt x="2304288" y="3560064"/>
                  </a:lnTo>
                  <a:cubicBezTo>
                    <a:pt x="2314204" y="3530316"/>
                    <a:pt x="2317229" y="3510547"/>
                    <a:pt x="2340864" y="3486912"/>
                  </a:cubicBezTo>
                  <a:cubicBezTo>
                    <a:pt x="2351225" y="3476551"/>
                    <a:pt x="2365248" y="3470656"/>
                    <a:pt x="2377440" y="3462528"/>
                  </a:cubicBezTo>
                  <a:cubicBezTo>
                    <a:pt x="2456822" y="3475758"/>
                    <a:pt x="2470789" y="3484911"/>
                    <a:pt x="2560320" y="3462528"/>
                  </a:cubicBezTo>
                  <a:cubicBezTo>
                    <a:pt x="2574535" y="3458974"/>
                    <a:pt x="2583790" y="3444697"/>
                    <a:pt x="2596896" y="3438144"/>
                  </a:cubicBezTo>
                  <a:cubicBezTo>
                    <a:pt x="2608391" y="3432397"/>
                    <a:pt x="2621280" y="3430016"/>
                    <a:pt x="2633472" y="3425952"/>
                  </a:cubicBezTo>
                  <a:cubicBezTo>
                    <a:pt x="2690701" y="3445028"/>
                    <a:pt x="2698109" y="3453174"/>
                    <a:pt x="2779776" y="3425952"/>
                  </a:cubicBezTo>
                  <a:cubicBezTo>
                    <a:pt x="2807578" y="3416685"/>
                    <a:pt x="2823768" y="3380100"/>
                    <a:pt x="2852928" y="3377184"/>
                  </a:cubicBezTo>
                  <a:lnTo>
                    <a:pt x="2974848" y="3364992"/>
                  </a:lnTo>
                  <a:cubicBezTo>
                    <a:pt x="2991104" y="3340608"/>
                    <a:pt x="3014349" y="3319642"/>
                    <a:pt x="3023616" y="3291840"/>
                  </a:cubicBezTo>
                  <a:cubicBezTo>
                    <a:pt x="3027680" y="3279648"/>
                    <a:pt x="3027780" y="3265299"/>
                    <a:pt x="3035808" y="3255264"/>
                  </a:cubicBezTo>
                  <a:cubicBezTo>
                    <a:pt x="3044962" y="3243822"/>
                    <a:pt x="3058247" y="3234735"/>
                    <a:pt x="3072384" y="3230880"/>
                  </a:cubicBezTo>
                  <a:cubicBezTo>
                    <a:pt x="3103995" y="3222259"/>
                    <a:pt x="3137408" y="3222752"/>
                    <a:pt x="3169920" y="3218688"/>
                  </a:cubicBezTo>
                  <a:cubicBezTo>
                    <a:pt x="3182112" y="3210560"/>
                    <a:pt x="3197342" y="3205746"/>
                    <a:pt x="3206496" y="3194304"/>
                  </a:cubicBezTo>
                  <a:cubicBezTo>
                    <a:pt x="3214524" y="3184269"/>
                    <a:pt x="3205966" y="3159545"/>
                    <a:pt x="3218688" y="3157728"/>
                  </a:cubicBezTo>
                  <a:cubicBezTo>
                    <a:pt x="3244133" y="3154093"/>
                    <a:pt x="3267456" y="3173984"/>
                    <a:pt x="3291840" y="3182112"/>
                  </a:cubicBezTo>
                  <a:lnTo>
                    <a:pt x="3328416" y="3194304"/>
                  </a:lnTo>
                  <a:cubicBezTo>
                    <a:pt x="3336544" y="3182112"/>
                    <a:pt x="3346247" y="3170834"/>
                    <a:pt x="3352800" y="3157728"/>
                  </a:cubicBezTo>
                  <a:cubicBezTo>
                    <a:pt x="3358547" y="3146233"/>
                    <a:pt x="3355905" y="3130239"/>
                    <a:pt x="3364992" y="3121152"/>
                  </a:cubicBezTo>
                  <a:cubicBezTo>
                    <a:pt x="3374079" y="3112065"/>
                    <a:pt x="3389376" y="3113024"/>
                    <a:pt x="3401568" y="3108960"/>
                  </a:cubicBezTo>
                  <a:cubicBezTo>
                    <a:pt x="3397504" y="3137408"/>
                    <a:pt x="3392384" y="3165725"/>
                    <a:pt x="3389376" y="3194304"/>
                  </a:cubicBezTo>
                  <a:cubicBezTo>
                    <a:pt x="3373652" y="3343679"/>
                    <a:pt x="3387548" y="3300065"/>
                    <a:pt x="3364992" y="3401568"/>
                  </a:cubicBezTo>
                  <a:cubicBezTo>
                    <a:pt x="3340624" y="3511223"/>
                    <a:pt x="3365047" y="3397304"/>
                    <a:pt x="3340608" y="3486912"/>
                  </a:cubicBezTo>
                  <a:cubicBezTo>
                    <a:pt x="3331790" y="3519244"/>
                    <a:pt x="3326822" y="3552655"/>
                    <a:pt x="3316224" y="3584448"/>
                  </a:cubicBezTo>
                  <a:cubicBezTo>
                    <a:pt x="3312160" y="3596640"/>
                    <a:pt x="3306922" y="3608502"/>
                    <a:pt x="3304032" y="3621024"/>
                  </a:cubicBezTo>
                  <a:cubicBezTo>
                    <a:pt x="3294713" y="3661407"/>
                    <a:pt x="3292754" y="3703626"/>
                    <a:pt x="3279648" y="3742944"/>
                  </a:cubicBezTo>
                  <a:cubicBezTo>
                    <a:pt x="3275584" y="3755136"/>
                    <a:pt x="3270987" y="3767163"/>
                    <a:pt x="3267456" y="3779520"/>
                  </a:cubicBezTo>
                  <a:cubicBezTo>
                    <a:pt x="3255977" y="3819695"/>
                    <a:pt x="3251452" y="3847346"/>
                    <a:pt x="3243072" y="3889248"/>
                  </a:cubicBezTo>
                  <a:cubicBezTo>
                    <a:pt x="3247136" y="3905504"/>
                    <a:pt x="3251629" y="3921659"/>
                    <a:pt x="3255264" y="3938016"/>
                  </a:cubicBezTo>
                  <a:cubicBezTo>
                    <a:pt x="3259759" y="3958245"/>
                    <a:pt x="3262004" y="3978984"/>
                    <a:pt x="3267456" y="3998976"/>
                  </a:cubicBezTo>
                  <a:cubicBezTo>
                    <a:pt x="3274219" y="4023773"/>
                    <a:pt x="3283712" y="4047744"/>
                    <a:pt x="3291840" y="4072128"/>
                  </a:cubicBezTo>
                  <a:lnTo>
                    <a:pt x="3316224" y="4145280"/>
                  </a:lnTo>
                  <a:cubicBezTo>
                    <a:pt x="3320288" y="4157472"/>
                    <a:pt x="3325299" y="4169388"/>
                    <a:pt x="3328416" y="4181856"/>
                  </a:cubicBezTo>
                  <a:cubicBezTo>
                    <a:pt x="3332480" y="4198112"/>
                    <a:pt x="3336973" y="4214267"/>
                    <a:pt x="3340608" y="4230624"/>
                  </a:cubicBezTo>
                  <a:cubicBezTo>
                    <a:pt x="3377789" y="4397940"/>
                    <a:pt x="3332312" y="4213781"/>
                    <a:pt x="3364992" y="4328160"/>
                  </a:cubicBezTo>
                  <a:cubicBezTo>
                    <a:pt x="3369595" y="4344272"/>
                    <a:pt x="3367889" y="4362986"/>
                    <a:pt x="3377184" y="4376928"/>
                  </a:cubicBezTo>
                  <a:cubicBezTo>
                    <a:pt x="3390689" y="4397186"/>
                    <a:pt x="3429472" y="4406549"/>
                    <a:pt x="3450336" y="4413504"/>
                  </a:cubicBezTo>
                  <a:cubicBezTo>
                    <a:pt x="3454400" y="4425696"/>
                    <a:pt x="3462528" y="4437229"/>
                    <a:pt x="3462528" y="4450080"/>
                  </a:cubicBezTo>
                  <a:cubicBezTo>
                    <a:pt x="3462528" y="4522904"/>
                    <a:pt x="3453158" y="4519450"/>
                    <a:pt x="3438144" y="4572000"/>
                  </a:cubicBezTo>
                  <a:cubicBezTo>
                    <a:pt x="3433541" y="4588112"/>
                    <a:pt x="3430767" y="4604718"/>
                    <a:pt x="3425952" y="4620768"/>
                  </a:cubicBezTo>
                  <a:cubicBezTo>
                    <a:pt x="3418566" y="4645387"/>
                    <a:pt x="3409696" y="4669536"/>
                    <a:pt x="3401568" y="4693920"/>
                  </a:cubicBezTo>
                  <a:lnTo>
                    <a:pt x="3377184" y="4767072"/>
                  </a:lnTo>
                  <a:lnTo>
                    <a:pt x="3364992" y="4803648"/>
                  </a:lnTo>
                  <a:cubicBezTo>
                    <a:pt x="3360928" y="4815840"/>
                    <a:pt x="3359929" y="4829531"/>
                    <a:pt x="3352800" y="4840224"/>
                  </a:cubicBezTo>
                  <a:cubicBezTo>
                    <a:pt x="3336544" y="4864608"/>
                    <a:pt x="3321616" y="4889931"/>
                    <a:pt x="3304032" y="4913376"/>
                  </a:cubicBezTo>
                  <a:cubicBezTo>
                    <a:pt x="3287339" y="4935633"/>
                    <a:pt x="3224692" y="5017284"/>
                    <a:pt x="3218688" y="5035296"/>
                  </a:cubicBezTo>
                  <a:cubicBezTo>
                    <a:pt x="3210560" y="5059680"/>
                    <a:pt x="3200538" y="5083512"/>
                    <a:pt x="3194304" y="5108448"/>
                  </a:cubicBezTo>
                  <a:cubicBezTo>
                    <a:pt x="3181258" y="5160632"/>
                    <a:pt x="3180239" y="5161423"/>
                    <a:pt x="3169920" y="5218176"/>
                  </a:cubicBezTo>
                  <a:cubicBezTo>
                    <a:pt x="3165498" y="5242498"/>
                    <a:pt x="3162576" y="5267088"/>
                    <a:pt x="3157728" y="5291328"/>
                  </a:cubicBezTo>
                  <a:cubicBezTo>
                    <a:pt x="3154442" y="5307759"/>
                    <a:pt x="3148822" y="5323665"/>
                    <a:pt x="3145536" y="5340096"/>
                  </a:cubicBezTo>
                  <a:cubicBezTo>
                    <a:pt x="3128876" y="5423397"/>
                    <a:pt x="3119697" y="5533163"/>
                    <a:pt x="3108960" y="5608320"/>
                  </a:cubicBezTo>
                  <a:cubicBezTo>
                    <a:pt x="3104896" y="5636768"/>
                    <a:pt x="3099294" y="5665038"/>
                    <a:pt x="3096768" y="5693664"/>
                  </a:cubicBezTo>
                  <a:cubicBezTo>
                    <a:pt x="3069929" y="5997837"/>
                    <a:pt x="3072109" y="6029731"/>
                    <a:pt x="3060192" y="6327648"/>
                  </a:cubicBezTo>
                  <a:cubicBezTo>
                    <a:pt x="3085977" y="6405004"/>
                    <a:pt x="3066919" y="6323444"/>
                    <a:pt x="3060192" y="6400800"/>
                  </a:cubicBezTo>
                  <a:cubicBezTo>
                    <a:pt x="3053142" y="6481876"/>
                    <a:pt x="3052064" y="6563360"/>
                    <a:pt x="3048000" y="6644640"/>
                  </a:cubicBezTo>
                  <a:cubicBezTo>
                    <a:pt x="3052064" y="6656832"/>
                    <a:pt x="3057404" y="6668671"/>
                    <a:pt x="3060192" y="6681216"/>
                  </a:cubicBezTo>
                  <a:cubicBezTo>
                    <a:pt x="3085264" y="6794038"/>
                    <a:pt x="3037600" y="6757846"/>
                    <a:pt x="3194304" y="6742176"/>
                  </a:cubicBezTo>
                  <a:cubicBezTo>
                    <a:pt x="3206496" y="6738112"/>
                    <a:pt x="3218236" y="6732283"/>
                    <a:pt x="3230880" y="6729984"/>
                  </a:cubicBezTo>
                  <a:cubicBezTo>
                    <a:pt x="3360367" y="6706441"/>
                    <a:pt x="3386816" y="6721036"/>
                    <a:pt x="3547872" y="6729984"/>
                  </a:cubicBezTo>
                  <a:lnTo>
                    <a:pt x="3669792" y="6705600"/>
                  </a:lnTo>
                  <a:cubicBezTo>
                    <a:pt x="3938014" y="6651956"/>
                    <a:pt x="3710033" y="6693806"/>
                    <a:pt x="4364736" y="6681216"/>
                  </a:cubicBezTo>
                  <a:cubicBezTo>
                    <a:pt x="4442970" y="6665569"/>
                    <a:pt x="4420304" y="6668930"/>
                    <a:pt x="4511040" y="6656832"/>
                  </a:cubicBezTo>
                  <a:cubicBezTo>
                    <a:pt x="4543518" y="6652502"/>
                    <a:pt x="4576192" y="6649622"/>
                    <a:pt x="4608576" y="6644640"/>
                  </a:cubicBezTo>
                  <a:cubicBezTo>
                    <a:pt x="4629057" y="6641489"/>
                    <a:pt x="4649096" y="6635855"/>
                    <a:pt x="4669536" y="6632448"/>
                  </a:cubicBezTo>
                  <a:cubicBezTo>
                    <a:pt x="4697882" y="6627724"/>
                    <a:pt x="4726432" y="6624320"/>
                    <a:pt x="4754880" y="6620256"/>
                  </a:cubicBezTo>
                  <a:cubicBezTo>
                    <a:pt x="4786218" y="6609810"/>
                    <a:pt x="4806544" y="6601996"/>
                    <a:pt x="4840224" y="6595872"/>
                  </a:cubicBezTo>
                  <a:cubicBezTo>
                    <a:pt x="4926841" y="6580123"/>
                    <a:pt x="4991292" y="6578624"/>
                    <a:pt x="5084064" y="6571488"/>
                  </a:cubicBezTo>
                  <a:cubicBezTo>
                    <a:pt x="5108448" y="6567424"/>
                    <a:pt x="5132976" y="6564144"/>
                    <a:pt x="5157216" y="6559296"/>
                  </a:cubicBezTo>
                  <a:cubicBezTo>
                    <a:pt x="5173647" y="6556010"/>
                    <a:pt x="5189456" y="6549859"/>
                    <a:pt x="5205984" y="6547104"/>
                  </a:cubicBezTo>
                  <a:cubicBezTo>
                    <a:pt x="5238303" y="6541717"/>
                    <a:pt x="5271136" y="6539894"/>
                    <a:pt x="5303520" y="6534912"/>
                  </a:cubicBezTo>
                  <a:cubicBezTo>
                    <a:pt x="5474776" y="6508565"/>
                    <a:pt x="5284233" y="6536489"/>
                    <a:pt x="5401056" y="6510528"/>
                  </a:cubicBezTo>
                  <a:cubicBezTo>
                    <a:pt x="5425188" y="6505165"/>
                    <a:pt x="5449623" y="6500924"/>
                    <a:pt x="5474208" y="6498336"/>
                  </a:cubicBezTo>
                  <a:cubicBezTo>
                    <a:pt x="5526905" y="6492789"/>
                    <a:pt x="5579979" y="6491417"/>
                    <a:pt x="5632704" y="6486144"/>
                  </a:cubicBezTo>
                  <a:cubicBezTo>
                    <a:pt x="5661298" y="6483285"/>
                    <a:pt x="5689454" y="6476811"/>
                    <a:pt x="5718048" y="6473952"/>
                  </a:cubicBezTo>
                  <a:cubicBezTo>
                    <a:pt x="5770773" y="6468679"/>
                    <a:pt x="5823819" y="6467033"/>
                    <a:pt x="5876544" y="6461760"/>
                  </a:cubicBezTo>
                  <a:cubicBezTo>
                    <a:pt x="5905138" y="6458901"/>
                    <a:pt x="5933403" y="6453366"/>
                    <a:pt x="5961888" y="6449568"/>
                  </a:cubicBezTo>
                  <a:lnTo>
                    <a:pt x="6059424" y="6437376"/>
                  </a:lnTo>
                  <a:cubicBezTo>
                    <a:pt x="6083808" y="6429248"/>
                    <a:pt x="6111190" y="6427249"/>
                    <a:pt x="6132576" y="6412992"/>
                  </a:cubicBezTo>
                  <a:lnTo>
                    <a:pt x="6205728" y="6364224"/>
                  </a:lnTo>
                  <a:cubicBezTo>
                    <a:pt x="6213856" y="6352032"/>
                    <a:pt x="6224161" y="6341038"/>
                    <a:pt x="6230112" y="6327648"/>
                  </a:cubicBezTo>
                  <a:cubicBezTo>
                    <a:pt x="6240551" y="6304160"/>
                    <a:pt x="6254496" y="6254496"/>
                    <a:pt x="6254496" y="6254496"/>
                  </a:cubicBezTo>
                  <a:cubicBezTo>
                    <a:pt x="6250432" y="6205728"/>
                    <a:pt x="6242304" y="6157129"/>
                    <a:pt x="6242304" y="6108192"/>
                  </a:cubicBezTo>
                  <a:cubicBezTo>
                    <a:pt x="6242304" y="6083472"/>
                    <a:pt x="6254496" y="6059760"/>
                    <a:pt x="6254496" y="6035040"/>
                  </a:cubicBezTo>
                  <a:cubicBezTo>
                    <a:pt x="6254496" y="5962285"/>
                    <a:pt x="6238094" y="5626742"/>
                    <a:pt x="6230112" y="5522976"/>
                  </a:cubicBezTo>
                  <a:cubicBezTo>
                    <a:pt x="6227289" y="5486283"/>
                    <a:pt x="6220976" y="5449922"/>
                    <a:pt x="6217920" y="5413248"/>
                  </a:cubicBezTo>
                  <a:cubicBezTo>
                    <a:pt x="6212846" y="5352364"/>
                    <a:pt x="6211520" y="5291188"/>
                    <a:pt x="6205728" y="5230368"/>
                  </a:cubicBezTo>
                  <a:cubicBezTo>
                    <a:pt x="6203384" y="5205759"/>
                    <a:pt x="6197032" y="5181688"/>
                    <a:pt x="6193536" y="5157216"/>
                  </a:cubicBezTo>
                  <a:cubicBezTo>
                    <a:pt x="6188902" y="5124780"/>
                    <a:pt x="6185100" y="5092229"/>
                    <a:pt x="6181344" y="5059680"/>
                  </a:cubicBezTo>
                  <a:cubicBezTo>
                    <a:pt x="6172907" y="4986563"/>
                    <a:pt x="6174811" y="4911629"/>
                    <a:pt x="6156960" y="4840224"/>
                  </a:cubicBezTo>
                  <a:cubicBezTo>
                    <a:pt x="6127226" y="4721289"/>
                    <a:pt x="6163532" y="4869800"/>
                    <a:pt x="6132576" y="4730496"/>
                  </a:cubicBezTo>
                  <a:cubicBezTo>
                    <a:pt x="6128941" y="4714139"/>
                    <a:pt x="6123381" y="4698214"/>
                    <a:pt x="6120384" y="4681728"/>
                  </a:cubicBezTo>
                  <a:cubicBezTo>
                    <a:pt x="6115243" y="4653455"/>
                    <a:pt x="6112674" y="4624769"/>
                    <a:pt x="6108192" y="4596384"/>
                  </a:cubicBezTo>
                  <a:cubicBezTo>
                    <a:pt x="6100481" y="4547548"/>
                    <a:pt x="6091936" y="4498848"/>
                    <a:pt x="6083808" y="4450080"/>
                  </a:cubicBezTo>
                  <a:cubicBezTo>
                    <a:pt x="6079744" y="4425696"/>
                    <a:pt x="6077612" y="4400910"/>
                    <a:pt x="6071616" y="4376928"/>
                  </a:cubicBezTo>
                  <a:cubicBezTo>
                    <a:pt x="6067552" y="4360672"/>
                    <a:pt x="6062710" y="4344591"/>
                    <a:pt x="6059424" y="4328160"/>
                  </a:cubicBezTo>
                  <a:cubicBezTo>
                    <a:pt x="6054576" y="4303920"/>
                    <a:pt x="6050991" y="4279441"/>
                    <a:pt x="6047232" y="4255008"/>
                  </a:cubicBezTo>
                  <a:cubicBezTo>
                    <a:pt x="6034735" y="4173775"/>
                    <a:pt x="6031939" y="4146305"/>
                    <a:pt x="6022848" y="4059936"/>
                  </a:cubicBezTo>
                  <a:cubicBezTo>
                    <a:pt x="6018572" y="4019318"/>
                    <a:pt x="6015166" y="3978609"/>
                    <a:pt x="6010656" y="3938016"/>
                  </a:cubicBezTo>
                  <a:cubicBezTo>
                    <a:pt x="6005039" y="3887463"/>
                    <a:pt x="5994205" y="3806699"/>
                    <a:pt x="5986272" y="3755136"/>
                  </a:cubicBezTo>
                  <a:cubicBezTo>
                    <a:pt x="5982513" y="3730703"/>
                    <a:pt x="5977576" y="3706456"/>
                    <a:pt x="5974080" y="3681984"/>
                  </a:cubicBezTo>
                  <a:cubicBezTo>
                    <a:pt x="5969446" y="3649548"/>
                    <a:pt x="5967749" y="3616685"/>
                    <a:pt x="5961888" y="3584448"/>
                  </a:cubicBezTo>
                  <a:cubicBezTo>
                    <a:pt x="5959589" y="3571804"/>
                    <a:pt x="5953227" y="3560229"/>
                    <a:pt x="5949696" y="3547872"/>
                  </a:cubicBezTo>
                  <a:cubicBezTo>
                    <a:pt x="5945093" y="3531760"/>
                    <a:pt x="5940592" y="3515573"/>
                    <a:pt x="5937504" y="3499104"/>
                  </a:cubicBezTo>
                  <a:cubicBezTo>
                    <a:pt x="5887996" y="3235061"/>
                    <a:pt x="5931969" y="3453702"/>
                    <a:pt x="5900928" y="3267456"/>
                  </a:cubicBezTo>
                  <a:cubicBezTo>
                    <a:pt x="5897521" y="3247016"/>
                    <a:pt x="5892443" y="3226884"/>
                    <a:pt x="5888736" y="3206496"/>
                  </a:cubicBezTo>
                  <a:cubicBezTo>
                    <a:pt x="5884314" y="3182174"/>
                    <a:pt x="5880966" y="3157666"/>
                    <a:pt x="5876544" y="3133344"/>
                  </a:cubicBezTo>
                  <a:cubicBezTo>
                    <a:pt x="5872837" y="3112956"/>
                    <a:pt x="5867283" y="3092898"/>
                    <a:pt x="5864352" y="3072384"/>
                  </a:cubicBezTo>
                  <a:cubicBezTo>
                    <a:pt x="5859148" y="3035953"/>
                    <a:pt x="5856725" y="2999173"/>
                    <a:pt x="5852160" y="2962656"/>
                  </a:cubicBezTo>
                  <a:cubicBezTo>
                    <a:pt x="5848596" y="2934141"/>
                    <a:pt x="5844032" y="2905760"/>
                    <a:pt x="5839968" y="2877312"/>
                  </a:cubicBezTo>
                  <a:cubicBezTo>
                    <a:pt x="5843069" y="2837002"/>
                    <a:pt x="5840770" y="2699325"/>
                    <a:pt x="5876544" y="2645664"/>
                  </a:cubicBezTo>
                  <a:lnTo>
                    <a:pt x="5949696" y="2535936"/>
                  </a:lnTo>
                  <a:cubicBezTo>
                    <a:pt x="5957824" y="2523744"/>
                    <a:pt x="5969446" y="2513261"/>
                    <a:pt x="5974080" y="2499360"/>
                  </a:cubicBezTo>
                  <a:lnTo>
                    <a:pt x="6071616" y="2206752"/>
                  </a:lnTo>
                  <a:lnTo>
                    <a:pt x="6108192" y="2097024"/>
                  </a:lnTo>
                  <a:cubicBezTo>
                    <a:pt x="6112256" y="2084832"/>
                    <a:pt x="6113255" y="2071141"/>
                    <a:pt x="6120384" y="2060448"/>
                  </a:cubicBezTo>
                  <a:cubicBezTo>
                    <a:pt x="6128512" y="2048256"/>
                    <a:pt x="6138215" y="2036978"/>
                    <a:pt x="6144768" y="2023872"/>
                  </a:cubicBezTo>
                  <a:cubicBezTo>
                    <a:pt x="6150515" y="2012377"/>
                    <a:pt x="6150719" y="1998530"/>
                    <a:pt x="6156960" y="1987296"/>
                  </a:cubicBezTo>
                  <a:cubicBezTo>
                    <a:pt x="6171192" y="1961678"/>
                    <a:pt x="6189472" y="1938528"/>
                    <a:pt x="6205728" y="1914144"/>
                  </a:cubicBezTo>
                  <a:cubicBezTo>
                    <a:pt x="6227403" y="1881632"/>
                    <a:pt x="6234193" y="1866266"/>
                    <a:pt x="6266688" y="1840992"/>
                  </a:cubicBezTo>
                  <a:cubicBezTo>
                    <a:pt x="6289821" y="1823000"/>
                    <a:pt x="6312038" y="1801491"/>
                    <a:pt x="6339840" y="1792224"/>
                  </a:cubicBezTo>
                  <a:cubicBezTo>
                    <a:pt x="6364224" y="1784096"/>
                    <a:pt x="6387788" y="1772881"/>
                    <a:pt x="6412992" y="1767840"/>
                  </a:cubicBezTo>
                  <a:cubicBezTo>
                    <a:pt x="6506081" y="1749222"/>
                    <a:pt x="6453390" y="1758218"/>
                    <a:pt x="6571488" y="1743456"/>
                  </a:cubicBezTo>
                  <a:cubicBezTo>
                    <a:pt x="6619328" y="1753024"/>
                    <a:pt x="6656575" y="1761155"/>
                    <a:pt x="6705600" y="1767840"/>
                  </a:cubicBezTo>
                  <a:cubicBezTo>
                    <a:pt x="7086152" y="1819733"/>
                    <a:pt x="6751887" y="1772102"/>
                    <a:pt x="7010400" y="1804416"/>
                  </a:cubicBezTo>
                  <a:cubicBezTo>
                    <a:pt x="7038915" y="1807980"/>
                    <a:pt x="7067165" y="1813600"/>
                    <a:pt x="7095744" y="1816608"/>
                  </a:cubicBezTo>
                  <a:cubicBezTo>
                    <a:pt x="7144412" y="1821731"/>
                    <a:pt x="7193331" y="1824160"/>
                    <a:pt x="7242048" y="1828800"/>
                  </a:cubicBezTo>
                  <a:cubicBezTo>
                    <a:pt x="7278683" y="1832289"/>
                    <a:pt x="7315200" y="1836928"/>
                    <a:pt x="7351776" y="1840992"/>
                  </a:cubicBezTo>
                  <a:lnTo>
                    <a:pt x="7510272" y="1828800"/>
                  </a:lnTo>
                  <a:cubicBezTo>
                    <a:pt x="7659194" y="1815262"/>
                    <a:pt x="7647831" y="1816608"/>
                    <a:pt x="7583424" y="1816608"/>
                  </a:cubicBezTo>
                </a:path>
              </a:pathLst>
            </a:custGeom>
            <a:noFill/>
            <a:ln w="57150" cap="flat" cmpd="sng" algn="ctr">
              <a:solidFill>
                <a:srgbClr val="92D05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E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B918FA1E-A6C0-EA4F-A5D5-6C993A382647}"/>
                </a:ext>
              </a:extLst>
            </p:cNvPr>
            <p:cNvSpPr txBox="1"/>
            <p:nvPr/>
          </p:nvSpPr>
          <p:spPr>
            <a:xfrm>
              <a:off x="4580706" y="1402080"/>
              <a:ext cx="1685983" cy="903096"/>
            </a:xfrm>
            <a:prstGeom prst="rect">
              <a:avLst/>
            </a:prstGeom>
            <a:solidFill>
              <a:sysClr val="window" lastClr="FFFFFF"/>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050" b="0" i="0" u="none" strike="noStrike" kern="0" cap="none" spc="0" normalizeH="0" baseline="0" noProof="0" dirty="0">
                  <a:ln>
                    <a:noFill/>
                  </a:ln>
                  <a:solidFill>
                    <a:prstClr val="black"/>
                  </a:solidFill>
                  <a:effectLst/>
                  <a:uLnTx/>
                  <a:uFillTx/>
                  <a:latin typeface="Calibri" panose="020F0502020204030204"/>
                </a:rPr>
                <a:t>N</a:t>
              </a:r>
              <a:r>
                <a:rPr kumimoji="0" lang="en-GB" sz="1050" b="0" i="0" u="none" strike="noStrike" kern="0" cap="none" spc="0" normalizeH="0" baseline="0" noProof="0" dirty="0">
                  <a:ln>
                    <a:noFill/>
                  </a:ln>
                  <a:solidFill>
                    <a:prstClr val="black"/>
                  </a:solidFill>
                  <a:effectLst/>
                  <a:uLnTx/>
                  <a:uFillTx/>
                  <a:latin typeface="Calibri" panose="020F0502020204030204"/>
                </a:rPr>
                <a:t>e</a:t>
              </a:r>
              <a:r>
                <a:rPr kumimoji="0" lang="en-ES" sz="1050" b="0" i="0" u="none" strike="noStrike" kern="0" cap="none" spc="0" normalizeH="0" baseline="0" noProof="0" dirty="0">
                  <a:ln>
                    <a:noFill/>
                  </a:ln>
                  <a:solidFill>
                    <a:prstClr val="black"/>
                  </a:solidFill>
                  <a:effectLst/>
                  <a:uLnTx/>
                  <a:uFillTx/>
                  <a:latin typeface="Calibri" panose="020F0502020204030204"/>
                </a:rPr>
                <a:t>twork Span 1</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050" b="0" i="0" u="none" strike="noStrike" kern="0" cap="none" spc="0" normalizeH="0" baseline="0" noProof="0" dirty="0">
                  <a:ln>
                    <a:noFill/>
                  </a:ln>
                  <a:solidFill>
                    <a:prstClr val="black"/>
                  </a:solidFill>
                  <a:effectLst/>
                  <a:uLnTx/>
                  <a:uFillTx/>
                  <a:latin typeface="Calibri" panose="020F0502020204030204"/>
                </a:rPr>
                <a:t>(Low hills)</a:t>
              </a:r>
            </a:p>
          </p:txBody>
        </p:sp>
        <p:sp>
          <p:nvSpPr>
            <p:cNvPr id="12" name="TextBox 11">
              <a:extLst>
                <a:ext uri="{FF2B5EF4-FFF2-40B4-BE49-F238E27FC236}">
                  <a16:creationId xmlns:a16="http://schemas.microsoft.com/office/drawing/2014/main" id="{34B637D2-DA44-4E4C-9948-836075E39BEC}"/>
                </a:ext>
              </a:extLst>
            </p:cNvPr>
            <p:cNvSpPr txBox="1"/>
            <p:nvPr/>
          </p:nvSpPr>
          <p:spPr>
            <a:xfrm>
              <a:off x="7004064" y="3452568"/>
              <a:ext cx="1685983" cy="903096"/>
            </a:xfrm>
            <a:prstGeom prst="rect">
              <a:avLst/>
            </a:prstGeom>
            <a:solidFill>
              <a:sysClr val="window" lastClr="FFFFFF"/>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050" b="0" i="0" u="none" strike="noStrike" kern="0" cap="none" spc="0" normalizeH="0" baseline="0" noProof="0" dirty="0">
                  <a:ln>
                    <a:noFill/>
                  </a:ln>
                  <a:solidFill>
                    <a:prstClr val="black"/>
                  </a:solidFill>
                  <a:effectLst/>
                  <a:uLnTx/>
                  <a:uFillTx/>
                  <a:latin typeface="Calibri" panose="020F0502020204030204"/>
                </a:rPr>
                <a:t>N</a:t>
              </a:r>
              <a:r>
                <a:rPr kumimoji="0" lang="en-GB" sz="1050" b="0" i="0" u="none" strike="noStrike" kern="0" cap="none" spc="0" normalizeH="0" baseline="0" noProof="0" dirty="0">
                  <a:ln>
                    <a:noFill/>
                  </a:ln>
                  <a:solidFill>
                    <a:prstClr val="black"/>
                  </a:solidFill>
                  <a:effectLst/>
                  <a:uLnTx/>
                  <a:uFillTx/>
                  <a:latin typeface="Calibri" panose="020F0502020204030204"/>
                </a:rPr>
                <a:t>e</a:t>
              </a:r>
              <a:r>
                <a:rPr kumimoji="0" lang="en-ES" sz="1050" b="0" i="0" u="none" strike="noStrike" kern="0" cap="none" spc="0" normalizeH="0" baseline="0" noProof="0" dirty="0">
                  <a:ln>
                    <a:noFill/>
                  </a:ln>
                  <a:solidFill>
                    <a:prstClr val="black"/>
                  </a:solidFill>
                  <a:effectLst/>
                  <a:uLnTx/>
                  <a:uFillTx/>
                  <a:latin typeface="Calibri" panose="020F0502020204030204"/>
                </a:rPr>
                <a:t>twork Span 2</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050" b="0" i="0" u="none" strike="noStrike" kern="0" cap="none" spc="0" normalizeH="0" baseline="0" noProof="0" dirty="0">
                  <a:ln>
                    <a:noFill/>
                  </a:ln>
                  <a:solidFill>
                    <a:prstClr val="black"/>
                  </a:solidFill>
                  <a:effectLst/>
                  <a:uLnTx/>
                  <a:uFillTx/>
                  <a:latin typeface="Calibri" panose="020F0502020204030204"/>
                </a:rPr>
                <a:t>(High Slope)</a:t>
              </a:r>
            </a:p>
          </p:txBody>
        </p:sp>
        <p:sp>
          <p:nvSpPr>
            <p:cNvPr id="13" name="TextBox 12">
              <a:extLst>
                <a:ext uri="{FF2B5EF4-FFF2-40B4-BE49-F238E27FC236}">
                  <a16:creationId xmlns:a16="http://schemas.microsoft.com/office/drawing/2014/main" id="{D9A0AF94-C940-3840-8EA6-FB177A7743A8}"/>
                </a:ext>
              </a:extLst>
            </p:cNvPr>
            <p:cNvSpPr txBox="1"/>
            <p:nvPr/>
          </p:nvSpPr>
          <p:spPr>
            <a:xfrm>
              <a:off x="9052878" y="6123374"/>
              <a:ext cx="1685983" cy="903096"/>
            </a:xfrm>
            <a:prstGeom prst="rect">
              <a:avLst/>
            </a:prstGeom>
            <a:solidFill>
              <a:sysClr val="window" lastClr="FFFFFF"/>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050" b="0" i="0" u="none" strike="noStrike" kern="0" cap="none" spc="0" normalizeH="0" baseline="0" noProof="0" dirty="0">
                  <a:ln>
                    <a:noFill/>
                  </a:ln>
                  <a:solidFill>
                    <a:prstClr val="black"/>
                  </a:solidFill>
                  <a:effectLst/>
                  <a:uLnTx/>
                  <a:uFillTx/>
                  <a:latin typeface="Calibri" panose="020F0502020204030204"/>
                </a:rPr>
                <a:t>N</a:t>
              </a:r>
              <a:r>
                <a:rPr kumimoji="0" lang="en-GB" sz="1050" b="0" i="0" u="none" strike="noStrike" kern="0" cap="none" spc="0" normalizeH="0" baseline="0" noProof="0" dirty="0">
                  <a:ln>
                    <a:noFill/>
                  </a:ln>
                  <a:solidFill>
                    <a:prstClr val="black"/>
                  </a:solidFill>
                  <a:effectLst/>
                  <a:uLnTx/>
                  <a:uFillTx/>
                  <a:latin typeface="Calibri" panose="020F0502020204030204"/>
                </a:rPr>
                <a:t>e</a:t>
              </a:r>
              <a:r>
                <a:rPr kumimoji="0" lang="en-ES" sz="1050" b="0" i="0" u="none" strike="noStrike" kern="0" cap="none" spc="0" normalizeH="0" baseline="0" noProof="0" dirty="0">
                  <a:ln>
                    <a:noFill/>
                  </a:ln>
                  <a:solidFill>
                    <a:prstClr val="black"/>
                  </a:solidFill>
                  <a:effectLst/>
                  <a:uLnTx/>
                  <a:uFillTx/>
                  <a:latin typeface="Calibri" panose="020F0502020204030204"/>
                </a:rPr>
                <a:t>twork Span 3</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ES" sz="1050" b="0" i="0" u="none" strike="noStrike" kern="0" cap="none" spc="0" normalizeH="0" baseline="0" noProof="0" dirty="0">
                  <a:ln>
                    <a:noFill/>
                  </a:ln>
                  <a:solidFill>
                    <a:prstClr val="black"/>
                  </a:solidFill>
                  <a:effectLst/>
                  <a:uLnTx/>
                  <a:uFillTx/>
                  <a:latin typeface="Calibri" panose="020F0502020204030204"/>
                </a:rPr>
                <a:t>(Flat Terrain)</a:t>
              </a:r>
            </a:p>
          </p:txBody>
        </p:sp>
        <p:sp>
          <p:nvSpPr>
            <p:cNvPr id="14" name="TextBox 13">
              <a:extLst>
                <a:ext uri="{FF2B5EF4-FFF2-40B4-BE49-F238E27FC236}">
                  <a16:creationId xmlns:a16="http://schemas.microsoft.com/office/drawing/2014/main" id="{7E2956C5-6904-6740-B40F-51D2096F3B2C}"/>
                </a:ext>
              </a:extLst>
            </p:cNvPr>
            <p:cNvSpPr txBox="1"/>
            <p:nvPr/>
          </p:nvSpPr>
          <p:spPr>
            <a:xfrm>
              <a:off x="5291327" y="4249729"/>
              <a:ext cx="1401840" cy="903096"/>
            </a:xfrm>
            <a:prstGeom prst="rect">
              <a:avLst/>
            </a:prstGeom>
            <a:solidFill>
              <a:srgbClr val="FFFF00"/>
            </a:solidFill>
          </p:spPr>
          <p:txBody>
            <a:bodyPr wrap="square" rtlCol="0">
              <a:spAutoFit/>
            </a:bodyPr>
            <a:lstStyle/>
            <a:p>
              <a:pPr algn="ctr" defTabSz="457200"/>
              <a:r>
                <a:rPr lang="es-ES" sz="1050" dirty="0" err="1">
                  <a:solidFill>
                    <a:prstClr val="black"/>
                  </a:solidFill>
                  <a:latin typeface="Calibri" panose="020F0502020204030204"/>
                </a:rPr>
                <a:t>Landmark</a:t>
              </a:r>
              <a:endParaRPr lang="en-ES" sz="1050" dirty="0">
                <a:solidFill>
                  <a:prstClr val="black"/>
                </a:solidFill>
                <a:latin typeface="Calibri" panose="020F0502020204030204"/>
              </a:endParaRPr>
            </a:p>
            <a:p>
              <a:pPr algn="ctr" defTabSz="457200"/>
              <a:r>
                <a:rPr lang="en-ES" sz="1050" dirty="0">
                  <a:solidFill>
                    <a:prstClr val="black"/>
                  </a:solidFill>
                  <a:latin typeface="Calibri" panose="020F0502020204030204"/>
                </a:rPr>
                <a:t>(River Crossing)</a:t>
              </a:r>
            </a:p>
          </p:txBody>
        </p:sp>
        <p:sp>
          <p:nvSpPr>
            <p:cNvPr id="15" name="TextBox 14">
              <a:extLst>
                <a:ext uri="{FF2B5EF4-FFF2-40B4-BE49-F238E27FC236}">
                  <a16:creationId xmlns:a16="http://schemas.microsoft.com/office/drawing/2014/main" id="{4BA007C4-9C6B-AD43-8B11-A36C2B15C7B4}"/>
                </a:ext>
              </a:extLst>
            </p:cNvPr>
            <p:cNvSpPr txBox="1"/>
            <p:nvPr/>
          </p:nvSpPr>
          <p:spPr>
            <a:xfrm>
              <a:off x="6477080" y="6185864"/>
              <a:ext cx="1401840" cy="903096"/>
            </a:xfrm>
            <a:prstGeom prst="rect">
              <a:avLst/>
            </a:prstGeom>
            <a:solidFill>
              <a:srgbClr val="FFFF00"/>
            </a:solidFill>
          </p:spPr>
          <p:txBody>
            <a:bodyPr wrap="square" rtlCol="0">
              <a:spAutoFit/>
            </a:bodyPr>
            <a:lstStyle/>
            <a:p>
              <a:pPr algn="ctr" defTabSz="457200"/>
              <a:r>
                <a:rPr lang="es-ES" sz="1050" dirty="0" err="1">
                  <a:solidFill>
                    <a:prstClr val="black"/>
                  </a:solidFill>
                  <a:latin typeface="Calibri" panose="020F0502020204030204"/>
                </a:rPr>
                <a:t>Landmark</a:t>
              </a:r>
              <a:endParaRPr lang="en-ES" sz="1050" dirty="0">
                <a:solidFill>
                  <a:prstClr val="black"/>
                </a:solidFill>
                <a:latin typeface="Calibri" panose="020F0502020204030204"/>
              </a:endParaRPr>
            </a:p>
            <a:p>
              <a:pPr algn="ctr" defTabSz="457200"/>
              <a:r>
                <a:rPr lang="en-ES" sz="1050" dirty="0">
                  <a:solidFill>
                    <a:prstClr val="black"/>
                  </a:solidFill>
                  <a:latin typeface="Calibri" panose="020F0502020204030204"/>
                </a:rPr>
                <a:t>(Terrain Change)</a:t>
              </a:r>
            </a:p>
          </p:txBody>
        </p:sp>
      </p:grpSp>
    </p:spTree>
    <p:extLst>
      <p:ext uri="{BB962C8B-B14F-4D97-AF65-F5344CB8AC3E}">
        <p14:creationId xmlns:p14="http://schemas.microsoft.com/office/powerpoint/2010/main" val="242100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1B2D2-6A2A-4AD6-91B2-E1AC82304DDA}"/>
              </a:ext>
            </a:extLst>
          </p:cNvPr>
          <p:cNvSpPr>
            <a:spLocks noGrp="1"/>
          </p:cNvSpPr>
          <p:nvPr>
            <p:ph type="title"/>
          </p:nvPr>
        </p:nvSpPr>
        <p:spPr/>
        <p:txBody>
          <a:bodyPr/>
          <a:lstStyle/>
          <a:p>
            <a:r>
              <a:rPr lang="en-US" dirty="0"/>
              <a:t>Figure 6. RFx Process</a:t>
            </a:r>
          </a:p>
        </p:txBody>
      </p:sp>
      <p:grpSp>
        <p:nvGrpSpPr>
          <p:cNvPr id="2" name="Group 1">
            <a:extLst>
              <a:ext uri="{FF2B5EF4-FFF2-40B4-BE49-F238E27FC236}">
                <a16:creationId xmlns:a16="http://schemas.microsoft.com/office/drawing/2014/main" id="{BCE1DD06-D34C-3145-A01C-AB55D0C9863C}"/>
              </a:ext>
            </a:extLst>
          </p:cNvPr>
          <p:cNvGrpSpPr/>
          <p:nvPr/>
        </p:nvGrpSpPr>
        <p:grpSpPr>
          <a:xfrm>
            <a:off x="894919" y="2259776"/>
            <a:ext cx="10424245" cy="3483597"/>
            <a:chOff x="894919" y="2259776"/>
            <a:chExt cx="10424245" cy="3483597"/>
          </a:xfrm>
        </p:grpSpPr>
        <p:sp>
          <p:nvSpPr>
            <p:cNvPr id="3" name="Rectangle: Rounded Corners 5">
              <a:extLst>
                <a:ext uri="{FF2B5EF4-FFF2-40B4-BE49-F238E27FC236}">
                  <a16:creationId xmlns:a16="http://schemas.microsoft.com/office/drawing/2014/main" id="{118D4817-0C59-8A4C-AB5B-5C47999BB0E4}"/>
                </a:ext>
              </a:extLst>
            </p:cNvPr>
            <p:cNvSpPr/>
            <p:nvPr/>
          </p:nvSpPr>
          <p:spPr>
            <a:xfrm>
              <a:off x="1184966" y="3043510"/>
              <a:ext cx="1529645" cy="504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RFx Scope Statement</a:t>
              </a:r>
            </a:p>
          </p:txBody>
        </p:sp>
        <p:sp>
          <p:nvSpPr>
            <p:cNvPr id="5" name="Rectangle: Rounded Corners 14">
              <a:extLst>
                <a:ext uri="{FF2B5EF4-FFF2-40B4-BE49-F238E27FC236}">
                  <a16:creationId xmlns:a16="http://schemas.microsoft.com/office/drawing/2014/main" id="{5B4A609B-FF6A-8F42-BF68-09E170EE5676}"/>
                </a:ext>
              </a:extLst>
            </p:cNvPr>
            <p:cNvSpPr/>
            <p:nvPr/>
          </p:nvSpPr>
          <p:spPr>
            <a:xfrm>
              <a:off x="1184966" y="3741754"/>
              <a:ext cx="1529644" cy="504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00AEEF">
                      <a:lumMod val="50000"/>
                    </a:srgbClr>
                  </a:solidFill>
                  <a:latin typeface="Segoe UI"/>
                </a:rPr>
                <a:t>RFx Project Chart</a:t>
              </a:r>
              <a:endPar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endParaRPr>
            </a:p>
          </p:txBody>
        </p:sp>
        <p:cxnSp>
          <p:nvCxnSpPr>
            <p:cNvPr id="6" name="Straight Arrow Connector 5">
              <a:extLst>
                <a:ext uri="{FF2B5EF4-FFF2-40B4-BE49-F238E27FC236}">
                  <a16:creationId xmlns:a16="http://schemas.microsoft.com/office/drawing/2014/main" id="{C19E4671-D7C9-184F-B2C2-368042D07E99}"/>
                </a:ext>
              </a:extLst>
            </p:cNvPr>
            <p:cNvCxnSpPr>
              <a:cxnSpLocks/>
              <a:stCxn id="3" idx="2"/>
              <a:endCxn id="5" idx="0"/>
            </p:cNvCxnSpPr>
            <p:nvPr/>
          </p:nvCxnSpPr>
          <p:spPr>
            <a:xfrm flipH="1">
              <a:off x="1949788" y="3547510"/>
              <a:ext cx="1" cy="194244"/>
            </a:xfrm>
            <a:prstGeom prst="straightConnector1">
              <a:avLst/>
            </a:prstGeom>
            <a:noFill/>
            <a:ln w="6350" cap="flat" cmpd="sng" algn="ctr">
              <a:solidFill>
                <a:srgbClr val="000000">
                  <a:lumMod val="65000"/>
                  <a:lumOff val="35000"/>
                </a:srgbClr>
              </a:solidFill>
              <a:prstDash val="solid"/>
              <a:miter lim="800000"/>
              <a:tailEnd type="triangle"/>
            </a:ln>
            <a:effectLst/>
          </p:spPr>
        </p:cxnSp>
        <p:grpSp>
          <p:nvGrpSpPr>
            <p:cNvPr id="7" name="Group 61">
              <a:extLst>
                <a:ext uri="{FF2B5EF4-FFF2-40B4-BE49-F238E27FC236}">
                  <a16:creationId xmlns:a16="http://schemas.microsoft.com/office/drawing/2014/main" id="{609EED83-685C-1749-877C-F5070287E51E}"/>
                </a:ext>
              </a:extLst>
            </p:cNvPr>
            <p:cNvGrpSpPr/>
            <p:nvPr/>
          </p:nvGrpSpPr>
          <p:grpSpPr>
            <a:xfrm>
              <a:off x="894919" y="2316396"/>
              <a:ext cx="2069432" cy="369332"/>
              <a:chOff x="509318" y="1278014"/>
              <a:chExt cx="4308330" cy="326230"/>
            </a:xfrm>
          </p:grpSpPr>
          <p:sp>
            <p:nvSpPr>
              <p:cNvPr id="8" name="TextBox 62">
                <a:extLst>
                  <a:ext uri="{FF2B5EF4-FFF2-40B4-BE49-F238E27FC236}">
                    <a16:creationId xmlns:a16="http://schemas.microsoft.com/office/drawing/2014/main" id="{49AAB914-AA6C-FE4C-BD45-AA579D9A1B57}"/>
                  </a:ext>
                </a:extLst>
              </p:cNvPr>
              <p:cNvSpPr txBox="1"/>
              <p:nvPr/>
            </p:nvSpPr>
            <p:spPr>
              <a:xfrm>
                <a:off x="509318" y="1278014"/>
                <a:ext cx="4308330" cy="3262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AEEF">
                        <a:lumMod val="50000"/>
                      </a:srgbClr>
                    </a:solidFill>
                    <a:effectLst/>
                    <a:uLnTx/>
                    <a:uFillTx/>
                    <a:latin typeface="Segoe UI"/>
                  </a:rPr>
                  <a:t>RFx Preparation</a:t>
                </a:r>
              </a:p>
            </p:txBody>
          </p:sp>
          <p:cxnSp>
            <p:nvCxnSpPr>
              <p:cNvPr id="9" name="Straight Connector 63">
                <a:extLst>
                  <a:ext uri="{FF2B5EF4-FFF2-40B4-BE49-F238E27FC236}">
                    <a16:creationId xmlns:a16="http://schemas.microsoft.com/office/drawing/2014/main" id="{15A476EE-6B6C-7940-8280-32786E24710C}"/>
                  </a:ext>
                </a:extLst>
              </p:cNvPr>
              <p:cNvCxnSpPr/>
              <p:nvPr/>
            </p:nvCxnSpPr>
            <p:spPr>
              <a:xfrm flipV="1">
                <a:off x="509320" y="1597687"/>
                <a:ext cx="4308328" cy="1"/>
              </a:xfrm>
              <a:prstGeom prst="line">
                <a:avLst/>
              </a:prstGeom>
              <a:noFill/>
              <a:ln w="19050" cap="flat" cmpd="sng" algn="ctr">
                <a:solidFill>
                  <a:srgbClr val="00AEEF">
                    <a:lumMod val="50000"/>
                  </a:srgbClr>
                </a:solidFill>
                <a:prstDash val="solid"/>
                <a:miter lim="800000"/>
              </a:ln>
              <a:effectLst/>
            </p:spPr>
          </p:cxnSp>
        </p:grpSp>
        <p:sp>
          <p:nvSpPr>
            <p:cNvPr id="10" name="Isosceles Triangle 94">
              <a:extLst>
                <a:ext uri="{FF2B5EF4-FFF2-40B4-BE49-F238E27FC236}">
                  <a16:creationId xmlns:a16="http://schemas.microsoft.com/office/drawing/2014/main" id="{20596856-34AF-9641-80C8-749E9F8D4661}"/>
                </a:ext>
              </a:extLst>
            </p:cNvPr>
            <p:cNvSpPr/>
            <p:nvPr/>
          </p:nvSpPr>
          <p:spPr>
            <a:xfrm rot="5400000">
              <a:off x="2658416" y="4204227"/>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grpSp>
          <p:nvGrpSpPr>
            <p:cNvPr id="11" name="Group 61">
              <a:extLst>
                <a:ext uri="{FF2B5EF4-FFF2-40B4-BE49-F238E27FC236}">
                  <a16:creationId xmlns:a16="http://schemas.microsoft.com/office/drawing/2014/main" id="{2D3E4884-4021-534C-B92E-E9E8BB2E1550}"/>
                </a:ext>
              </a:extLst>
            </p:cNvPr>
            <p:cNvGrpSpPr/>
            <p:nvPr/>
          </p:nvGrpSpPr>
          <p:grpSpPr>
            <a:xfrm>
              <a:off x="3285602" y="2259776"/>
              <a:ext cx="8033562" cy="369332"/>
              <a:chOff x="509318" y="1278014"/>
              <a:chExt cx="4308330" cy="326230"/>
            </a:xfrm>
          </p:grpSpPr>
          <p:sp>
            <p:nvSpPr>
              <p:cNvPr id="12" name="TextBox 62">
                <a:extLst>
                  <a:ext uri="{FF2B5EF4-FFF2-40B4-BE49-F238E27FC236}">
                    <a16:creationId xmlns:a16="http://schemas.microsoft.com/office/drawing/2014/main" id="{A7A1A3B1-71C0-9949-8E1A-75AD0F6F96D4}"/>
                  </a:ext>
                </a:extLst>
              </p:cNvPr>
              <p:cNvSpPr txBox="1"/>
              <p:nvPr/>
            </p:nvSpPr>
            <p:spPr>
              <a:xfrm>
                <a:off x="509318" y="1278014"/>
                <a:ext cx="4308330" cy="3262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AEEF">
                        <a:lumMod val="50000"/>
                      </a:srgbClr>
                    </a:solidFill>
                    <a:effectLst/>
                    <a:uLnTx/>
                    <a:uFillTx/>
                    <a:latin typeface="Segoe UI"/>
                  </a:rPr>
                  <a:t>RFx Execution</a:t>
                </a:r>
              </a:p>
            </p:txBody>
          </p:sp>
          <p:cxnSp>
            <p:nvCxnSpPr>
              <p:cNvPr id="13" name="Straight Connector 63">
                <a:extLst>
                  <a:ext uri="{FF2B5EF4-FFF2-40B4-BE49-F238E27FC236}">
                    <a16:creationId xmlns:a16="http://schemas.microsoft.com/office/drawing/2014/main" id="{924678D4-91F3-C94B-AC60-4F459F9FD175}"/>
                  </a:ext>
                </a:extLst>
              </p:cNvPr>
              <p:cNvCxnSpPr/>
              <p:nvPr/>
            </p:nvCxnSpPr>
            <p:spPr>
              <a:xfrm flipV="1">
                <a:off x="509320" y="1597687"/>
                <a:ext cx="4308328" cy="1"/>
              </a:xfrm>
              <a:prstGeom prst="line">
                <a:avLst/>
              </a:prstGeom>
              <a:noFill/>
              <a:ln w="19050" cap="flat" cmpd="sng" algn="ctr">
                <a:solidFill>
                  <a:srgbClr val="00AEEF">
                    <a:lumMod val="50000"/>
                  </a:srgbClr>
                </a:solidFill>
                <a:prstDash val="solid"/>
                <a:miter lim="800000"/>
              </a:ln>
              <a:effectLst/>
            </p:spPr>
          </p:cxnSp>
        </p:grpSp>
        <p:sp>
          <p:nvSpPr>
            <p:cNvPr id="14" name="Rectangle: Rounded Corners 4">
              <a:extLst>
                <a:ext uri="{FF2B5EF4-FFF2-40B4-BE49-F238E27FC236}">
                  <a16:creationId xmlns:a16="http://schemas.microsoft.com/office/drawing/2014/main" id="{2398FBE1-C440-6A4D-BBD3-2D0F783BB73B}"/>
                </a:ext>
              </a:extLst>
            </p:cNvPr>
            <p:cNvSpPr/>
            <p:nvPr/>
          </p:nvSpPr>
          <p:spPr>
            <a:xfrm>
              <a:off x="1184966" y="4388170"/>
              <a:ext cx="1529643" cy="504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RFx Project Team</a:t>
              </a:r>
            </a:p>
          </p:txBody>
        </p:sp>
        <p:cxnSp>
          <p:nvCxnSpPr>
            <p:cNvPr id="15" name="Straight Arrow Connector 14">
              <a:extLst>
                <a:ext uri="{FF2B5EF4-FFF2-40B4-BE49-F238E27FC236}">
                  <a16:creationId xmlns:a16="http://schemas.microsoft.com/office/drawing/2014/main" id="{39C06D90-C715-9549-BFE4-25D56F396DE6}"/>
                </a:ext>
              </a:extLst>
            </p:cNvPr>
            <p:cNvCxnSpPr>
              <a:cxnSpLocks/>
              <a:stCxn id="14" idx="2"/>
              <a:endCxn id="16" idx="0"/>
            </p:cNvCxnSpPr>
            <p:nvPr/>
          </p:nvCxnSpPr>
          <p:spPr>
            <a:xfrm flipH="1">
              <a:off x="1949786" y="4892170"/>
              <a:ext cx="2" cy="132187"/>
            </a:xfrm>
            <a:prstGeom prst="straightConnector1">
              <a:avLst/>
            </a:prstGeom>
            <a:noFill/>
            <a:ln w="6350" cap="flat" cmpd="sng" algn="ctr">
              <a:solidFill>
                <a:srgbClr val="000000">
                  <a:lumMod val="65000"/>
                  <a:lumOff val="35000"/>
                </a:srgbClr>
              </a:solidFill>
              <a:prstDash val="solid"/>
              <a:miter lim="800000"/>
              <a:tailEnd type="triangle"/>
            </a:ln>
            <a:effectLst/>
          </p:spPr>
        </p:cxnSp>
        <p:sp>
          <p:nvSpPr>
            <p:cNvPr id="16" name="Rectangle: Rounded Corners 11">
              <a:extLst>
                <a:ext uri="{FF2B5EF4-FFF2-40B4-BE49-F238E27FC236}">
                  <a16:creationId xmlns:a16="http://schemas.microsoft.com/office/drawing/2014/main" id="{E4CA7B86-54FE-8246-ACCA-4B08A6D1F996}"/>
                </a:ext>
              </a:extLst>
            </p:cNvPr>
            <p:cNvSpPr/>
            <p:nvPr/>
          </p:nvSpPr>
          <p:spPr>
            <a:xfrm>
              <a:off x="1184963" y="5024357"/>
              <a:ext cx="1529645" cy="504000"/>
            </a:xfrm>
            <a:prstGeom prst="roundRect">
              <a:avLst/>
            </a:prstGeom>
            <a:solidFill>
              <a:srgbClr val="F2F2F2"/>
            </a:solidFill>
            <a:ln w="12700" cap="flat" cmpd="sng" algn="ctr">
              <a:solidFill>
                <a:srgbClr val="00AEE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Identify and prequalify Bidders</a:t>
              </a:r>
            </a:p>
          </p:txBody>
        </p:sp>
        <p:sp>
          <p:nvSpPr>
            <p:cNvPr id="17" name="Rounded Rectangle 16">
              <a:extLst>
                <a:ext uri="{FF2B5EF4-FFF2-40B4-BE49-F238E27FC236}">
                  <a16:creationId xmlns:a16="http://schemas.microsoft.com/office/drawing/2014/main" id="{719A2791-344F-CF49-8DB4-6C049C438828}"/>
                </a:ext>
              </a:extLst>
            </p:cNvPr>
            <p:cNvSpPr/>
            <p:nvPr/>
          </p:nvSpPr>
          <p:spPr>
            <a:xfrm>
              <a:off x="1012510" y="2884738"/>
              <a:ext cx="1951841" cy="2858632"/>
            </a:xfrm>
            <a:prstGeom prst="roundRect">
              <a:avLst>
                <a:gd name="adj" fmla="val 7434"/>
              </a:avLst>
            </a:prstGeom>
            <a:noFill/>
            <a:ln w="12700" cap="flat" cmpd="sng" algn="ctr">
              <a:solidFill>
                <a:srgbClr val="00AEEF">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200" b="0" i="0" u="none" strike="noStrike" kern="0" cap="none" spc="0" normalizeH="0" baseline="0" noProof="0">
                <a:ln>
                  <a:noFill/>
                </a:ln>
                <a:solidFill>
                  <a:prstClr val="white"/>
                </a:solidFill>
                <a:effectLst/>
                <a:uLnTx/>
                <a:uFillTx/>
                <a:latin typeface="Segoe UI"/>
                <a:ea typeface="+mn-ea"/>
                <a:cs typeface="+mn-cs"/>
              </a:endParaRPr>
            </a:p>
          </p:txBody>
        </p:sp>
        <p:cxnSp>
          <p:nvCxnSpPr>
            <p:cNvPr id="18" name="Straight Arrow Connector 17">
              <a:extLst>
                <a:ext uri="{FF2B5EF4-FFF2-40B4-BE49-F238E27FC236}">
                  <a16:creationId xmlns:a16="http://schemas.microsoft.com/office/drawing/2014/main" id="{2AC981A9-D1FF-BC4B-8BD6-5F0A18A21B01}"/>
                </a:ext>
              </a:extLst>
            </p:cNvPr>
            <p:cNvCxnSpPr>
              <a:cxnSpLocks/>
              <a:stCxn id="5" idx="2"/>
              <a:endCxn id="14" idx="0"/>
            </p:cNvCxnSpPr>
            <p:nvPr/>
          </p:nvCxnSpPr>
          <p:spPr>
            <a:xfrm>
              <a:off x="1949788" y="4245754"/>
              <a:ext cx="0" cy="142416"/>
            </a:xfrm>
            <a:prstGeom prst="straightConnector1">
              <a:avLst/>
            </a:prstGeom>
            <a:noFill/>
            <a:ln w="6350" cap="flat" cmpd="sng" algn="ctr">
              <a:solidFill>
                <a:srgbClr val="000000">
                  <a:lumMod val="65000"/>
                  <a:lumOff val="35000"/>
                </a:srgbClr>
              </a:solidFill>
              <a:prstDash val="solid"/>
              <a:miter lim="800000"/>
              <a:tailEnd type="triangle"/>
            </a:ln>
            <a:effectLst/>
          </p:spPr>
        </p:cxnSp>
        <p:sp>
          <p:nvSpPr>
            <p:cNvPr id="19" name="Rectangle: Rounded Corners 4">
              <a:extLst>
                <a:ext uri="{FF2B5EF4-FFF2-40B4-BE49-F238E27FC236}">
                  <a16:creationId xmlns:a16="http://schemas.microsoft.com/office/drawing/2014/main" id="{9B83508D-5463-374A-81DF-20F8FDB4D545}"/>
                </a:ext>
              </a:extLst>
            </p:cNvPr>
            <p:cNvSpPr/>
            <p:nvPr/>
          </p:nvSpPr>
          <p:spPr>
            <a:xfrm>
              <a:off x="3385900" y="3137030"/>
              <a:ext cx="1720800" cy="2354047"/>
            </a:xfrm>
            <a:prstGeom prst="roundRect">
              <a:avLst/>
            </a:prstGeom>
            <a:solidFill>
              <a:srgbClr val="F2F2F2"/>
            </a:solidFill>
            <a:ln w="12700" cap="flat" cmpd="sng" algn="ctr">
              <a:solidFill>
                <a:srgbClr val="00AEEF">
                  <a:lumMod val="50000"/>
                </a:srgbClr>
              </a:solidFill>
              <a:prstDash val="solid"/>
              <a:miter lim="800000"/>
            </a:ln>
            <a:effectLst/>
          </p:spPr>
          <p:txBody>
            <a:bodyPr lIns="72000" rIns="9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rPr>
                <a:t>Gather RFx informa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endParaRP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Size and Scope</a:t>
              </a: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Technical Requirements</a:t>
              </a:r>
            </a:p>
          </p:txBody>
        </p:sp>
        <p:sp>
          <p:nvSpPr>
            <p:cNvPr id="20" name="Rounded Rectangle 19">
              <a:extLst>
                <a:ext uri="{FF2B5EF4-FFF2-40B4-BE49-F238E27FC236}">
                  <a16:creationId xmlns:a16="http://schemas.microsoft.com/office/drawing/2014/main" id="{FA3B5353-0533-E740-9010-C7C810498267}"/>
                </a:ext>
              </a:extLst>
            </p:cNvPr>
            <p:cNvSpPr/>
            <p:nvPr/>
          </p:nvSpPr>
          <p:spPr>
            <a:xfrm>
              <a:off x="3285602" y="2884738"/>
              <a:ext cx="8033562" cy="2858635"/>
            </a:xfrm>
            <a:prstGeom prst="roundRect">
              <a:avLst>
                <a:gd name="adj" fmla="val 7434"/>
              </a:avLst>
            </a:prstGeom>
            <a:noFill/>
            <a:ln w="12700" cap="flat" cmpd="sng" algn="ctr">
              <a:solidFill>
                <a:srgbClr val="00AEEF">
                  <a:lumMod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200" b="0" i="0" u="none" strike="noStrike" kern="0" cap="none" spc="0" normalizeH="0" baseline="0" noProof="0">
                <a:ln>
                  <a:noFill/>
                </a:ln>
                <a:solidFill>
                  <a:prstClr val="white"/>
                </a:solidFill>
                <a:effectLst/>
                <a:uLnTx/>
                <a:uFillTx/>
                <a:latin typeface="Segoe UI"/>
                <a:ea typeface="+mn-ea"/>
                <a:cs typeface="+mn-cs"/>
              </a:endParaRPr>
            </a:p>
          </p:txBody>
        </p:sp>
        <p:sp>
          <p:nvSpPr>
            <p:cNvPr id="21" name="Isosceles Triangle 94">
              <a:extLst>
                <a:ext uri="{FF2B5EF4-FFF2-40B4-BE49-F238E27FC236}">
                  <a16:creationId xmlns:a16="http://schemas.microsoft.com/office/drawing/2014/main" id="{7B0F1CC2-8FB5-1F44-B3B8-FB7A0D0FF3DF}"/>
                </a:ext>
              </a:extLst>
            </p:cNvPr>
            <p:cNvSpPr/>
            <p:nvPr/>
          </p:nvSpPr>
          <p:spPr>
            <a:xfrm rot="5400000">
              <a:off x="4712593" y="4204227"/>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sp>
          <p:nvSpPr>
            <p:cNvPr id="22" name="Rectangle: Rounded Corners 4">
              <a:extLst>
                <a:ext uri="{FF2B5EF4-FFF2-40B4-BE49-F238E27FC236}">
                  <a16:creationId xmlns:a16="http://schemas.microsoft.com/office/drawing/2014/main" id="{16B1AA91-11B4-5843-8CCF-FE46C9561A28}"/>
                </a:ext>
              </a:extLst>
            </p:cNvPr>
            <p:cNvSpPr/>
            <p:nvPr/>
          </p:nvSpPr>
          <p:spPr>
            <a:xfrm>
              <a:off x="5440077" y="3137030"/>
              <a:ext cx="1720800" cy="2354047"/>
            </a:xfrm>
            <a:prstGeom prst="roundRect">
              <a:avLst/>
            </a:prstGeom>
            <a:solidFill>
              <a:srgbClr val="F2F2F2"/>
            </a:solidFill>
            <a:ln w="12700" cap="flat" cmpd="sng" algn="ctr">
              <a:solidFill>
                <a:srgbClr val="00AEEF">
                  <a:lumMod val="50000"/>
                </a:srgbClr>
              </a:solidFill>
              <a:prstDash val="solid"/>
              <a:miter lim="800000"/>
            </a:ln>
            <a:effectLst/>
          </p:spPr>
          <p:txBody>
            <a:bodyPr lIns="72000" rIns="9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rPr>
                <a:t>Build RFx Documen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endParaRP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Information for Bidders</a:t>
              </a: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Scope of Work</a:t>
              </a: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Proposals documents</a:t>
              </a:r>
            </a:p>
            <a:p>
              <a:pPr marL="171450" indent="-171450" defTabSz="936000">
                <a:buFont typeface="Arial" panose="020B0604020202020204" pitchFamily="34" charset="0"/>
                <a:buChar char="•"/>
              </a:pPr>
              <a:r>
                <a:rPr lang="en-US" sz="1200" kern="0" dirty="0">
                  <a:solidFill>
                    <a:srgbClr val="00AEEF">
                      <a:lumMod val="50000"/>
                    </a:srgbClr>
                  </a:solidFill>
                  <a:latin typeface="Segoe UI"/>
                </a:rPr>
                <a:t>Proposals Evaluation</a:t>
              </a: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Contract</a:t>
              </a:r>
            </a:p>
          </p:txBody>
        </p:sp>
        <p:sp>
          <p:nvSpPr>
            <p:cNvPr id="23" name="Isosceles Triangle 94">
              <a:extLst>
                <a:ext uri="{FF2B5EF4-FFF2-40B4-BE49-F238E27FC236}">
                  <a16:creationId xmlns:a16="http://schemas.microsoft.com/office/drawing/2014/main" id="{00BB4C19-7A53-CD4C-BC0C-C46765E8E61A}"/>
                </a:ext>
              </a:extLst>
            </p:cNvPr>
            <p:cNvSpPr/>
            <p:nvPr/>
          </p:nvSpPr>
          <p:spPr>
            <a:xfrm rot="5400000">
              <a:off x="6766770" y="4241507"/>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sp>
          <p:nvSpPr>
            <p:cNvPr id="24" name="Rectangle: Rounded Corners 4">
              <a:extLst>
                <a:ext uri="{FF2B5EF4-FFF2-40B4-BE49-F238E27FC236}">
                  <a16:creationId xmlns:a16="http://schemas.microsoft.com/office/drawing/2014/main" id="{64838F73-CBAB-9A41-BBEC-7808F20C9C80}"/>
                </a:ext>
              </a:extLst>
            </p:cNvPr>
            <p:cNvSpPr/>
            <p:nvPr/>
          </p:nvSpPr>
          <p:spPr>
            <a:xfrm>
              <a:off x="7494254" y="3174310"/>
              <a:ext cx="1720800" cy="2354047"/>
            </a:xfrm>
            <a:prstGeom prst="roundRect">
              <a:avLst/>
            </a:prstGeom>
            <a:solidFill>
              <a:srgbClr val="F2F2F2"/>
            </a:solidFill>
            <a:ln w="12700" cap="flat" cmpd="sng" algn="ctr">
              <a:solidFill>
                <a:srgbClr val="00AEEF">
                  <a:lumMod val="50000"/>
                </a:srgbClr>
              </a:solidFill>
              <a:prstDash val="solid"/>
              <a:miter lim="800000"/>
            </a:ln>
            <a:effectLst/>
          </p:spPr>
          <p:txBody>
            <a:bodyPr lIns="72000" rIns="9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rPr>
                <a:t>Gather RFx information</a:t>
              </a:r>
            </a:p>
            <a:p>
              <a:pPr marL="285750" marR="0" lvl="0" indent="-285750"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endParaRP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Queries</a:t>
              </a:r>
            </a:p>
            <a:p>
              <a:pPr marL="171450" indent="-171450" defTabSz="936000">
                <a:buFont typeface="Arial" panose="020B0604020202020204" pitchFamily="34" charset="0"/>
                <a:buChar char="•"/>
              </a:pPr>
              <a:r>
                <a:rPr lang="en-US" sz="1200" kern="0" dirty="0">
                  <a:solidFill>
                    <a:srgbClr val="00AEEF">
                      <a:lumMod val="50000"/>
                    </a:srgbClr>
                  </a:solidFill>
                  <a:latin typeface="Segoe UI"/>
                </a:rPr>
                <a:t>Oral Presentations</a:t>
              </a:r>
              <a:endPar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endParaRPr>
            </a:p>
          </p:txBody>
        </p:sp>
        <p:sp>
          <p:nvSpPr>
            <p:cNvPr id="25" name="Isosceles Triangle 94">
              <a:extLst>
                <a:ext uri="{FF2B5EF4-FFF2-40B4-BE49-F238E27FC236}">
                  <a16:creationId xmlns:a16="http://schemas.microsoft.com/office/drawing/2014/main" id="{524B01A1-4F2F-2640-8551-1245E65F0C6F}"/>
                </a:ext>
              </a:extLst>
            </p:cNvPr>
            <p:cNvSpPr/>
            <p:nvPr/>
          </p:nvSpPr>
          <p:spPr>
            <a:xfrm rot="5400000">
              <a:off x="8820947" y="4241507"/>
              <a:ext cx="1034717" cy="219654"/>
            </a:xfrm>
            <a:prstGeom prst="triangle">
              <a:avLst/>
            </a:prstGeom>
            <a:solidFill>
              <a:srgbClr val="000000">
                <a:lumMod val="65000"/>
                <a:lumOff val="3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sp>
          <p:nvSpPr>
            <p:cNvPr id="26" name="Rectangle: Rounded Corners 4">
              <a:extLst>
                <a:ext uri="{FF2B5EF4-FFF2-40B4-BE49-F238E27FC236}">
                  <a16:creationId xmlns:a16="http://schemas.microsoft.com/office/drawing/2014/main" id="{ECC48F44-4671-7849-8F68-DE704A80034C}"/>
                </a:ext>
              </a:extLst>
            </p:cNvPr>
            <p:cNvSpPr/>
            <p:nvPr/>
          </p:nvSpPr>
          <p:spPr>
            <a:xfrm>
              <a:off x="9548431" y="3174310"/>
              <a:ext cx="1720800" cy="2354047"/>
            </a:xfrm>
            <a:prstGeom prst="roundRect">
              <a:avLst/>
            </a:prstGeom>
            <a:solidFill>
              <a:srgbClr val="F2F2F2"/>
            </a:solidFill>
            <a:ln w="12700" cap="flat" cmpd="sng" algn="ctr">
              <a:solidFill>
                <a:srgbClr val="00AEEF">
                  <a:lumMod val="50000"/>
                </a:srgbClr>
              </a:solidFill>
              <a:prstDash val="solid"/>
              <a:miter lim="800000"/>
            </a:ln>
            <a:effectLst/>
          </p:spPr>
          <p:txBody>
            <a:bodyPr lIns="72000" rIns="90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rPr>
                <a:t>Evaluation and Selectio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AEEF">
                    <a:lumMod val="50000"/>
                  </a:srgbClr>
                </a:solidFill>
                <a:effectLst/>
                <a:uLnTx/>
                <a:uFillTx/>
                <a:latin typeface="Segoe UI"/>
                <a:ea typeface="+mn-ea"/>
                <a:cs typeface="+mn-cs"/>
              </a:endParaRP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Evaluate Proposals</a:t>
              </a:r>
            </a:p>
            <a:p>
              <a:pPr marL="171450" indent="-171450" defTabSz="936000">
                <a:buFont typeface="Arial" panose="020B0604020202020204" pitchFamily="34" charset="0"/>
                <a:buChar char="•"/>
              </a:pPr>
              <a:r>
                <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rPr>
                <a:t>Recommendations and Selection</a:t>
              </a:r>
            </a:p>
            <a:p>
              <a:pPr marL="171450" indent="-171450" defTabSz="936000">
                <a:buFont typeface="Arial" panose="020B0604020202020204" pitchFamily="34" charset="0"/>
                <a:buChar char="•"/>
              </a:pPr>
              <a:r>
                <a:rPr lang="en-US" sz="1200" kern="0" dirty="0">
                  <a:solidFill>
                    <a:srgbClr val="00AEEF">
                      <a:lumMod val="50000"/>
                    </a:srgbClr>
                  </a:solidFill>
                  <a:latin typeface="Segoe UI"/>
                </a:rPr>
                <a:t>Contract / MSA</a:t>
              </a:r>
              <a:endParaRPr kumimoji="0" lang="en-US" sz="1200" b="0" i="0" u="none" strike="noStrike" kern="0" cap="none" spc="0" normalizeH="0" baseline="0" noProof="0" dirty="0">
                <a:ln>
                  <a:noFill/>
                </a:ln>
                <a:solidFill>
                  <a:srgbClr val="00AEEF">
                    <a:lumMod val="50000"/>
                  </a:srgbClr>
                </a:solidFill>
                <a:effectLst/>
                <a:uLnTx/>
                <a:uFillTx/>
                <a:latin typeface="Segoe UI"/>
                <a:ea typeface="+mn-ea"/>
                <a:cs typeface="+mn-cs"/>
              </a:endParaRPr>
            </a:p>
          </p:txBody>
        </p:sp>
      </p:grpSp>
    </p:spTree>
    <p:extLst>
      <p:ext uri="{BB962C8B-B14F-4D97-AF65-F5344CB8AC3E}">
        <p14:creationId xmlns:p14="http://schemas.microsoft.com/office/powerpoint/2010/main" val="133654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siness Contrast 16x9">
  <a:themeElements>
    <a:clrScheme name="BusinessContrast">
      <a:dk1>
        <a:srgbClr val="000000"/>
      </a:dk1>
      <a:lt1>
        <a:sysClr val="window" lastClr="FFFFFF"/>
      </a:lt1>
      <a:dk2>
        <a:srgbClr val="000000"/>
      </a:dk2>
      <a:lt2>
        <a:srgbClr val="E5E8E8"/>
      </a:lt2>
      <a:accent1>
        <a:srgbClr val="00AEEF"/>
      </a:accent1>
      <a:accent2>
        <a:srgbClr val="EA428A"/>
      </a:accent2>
      <a:accent3>
        <a:srgbClr val="EED500"/>
      </a:accent3>
      <a:accent4>
        <a:srgbClr val="F5A70D"/>
      </a:accent4>
      <a:accent5>
        <a:srgbClr val="8BCB30"/>
      </a:accent5>
      <a:accent6>
        <a:srgbClr val="9962C1"/>
      </a:accent6>
      <a:hlink>
        <a:srgbClr val="00AEEF"/>
      </a:hlink>
      <a:folHlink>
        <a:srgbClr val="9962C1"/>
      </a:folHlink>
    </a:clrScheme>
    <a:fontScheme name="Custom 1">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4_Custom Design">
  <a:themeElements>
    <a:clrScheme name="Custom 45">
      <a:dk1>
        <a:sysClr val="windowText" lastClr="000000"/>
      </a:dk1>
      <a:lt1>
        <a:sysClr val="window" lastClr="FFFFFF"/>
      </a:lt1>
      <a:dk2>
        <a:srgbClr val="C00000"/>
      </a:dk2>
      <a:lt2>
        <a:srgbClr val="A5A5A5"/>
      </a:lt2>
      <a:accent1>
        <a:srgbClr val="E7E6E6"/>
      </a:accent1>
      <a:accent2>
        <a:srgbClr val="D0CECE"/>
      </a:accent2>
      <a:accent3>
        <a:srgbClr val="A5A5A5"/>
      </a:accent3>
      <a:accent4>
        <a:srgbClr val="696565"/>
      </a:accent4>
      <a:accent5>
        <a:srgbClr val="343232"/>
      </a:accent5>
      <a:accent6>
        <a:srgbClr val="394049"/>
      </a:accent6>
      <a:hlink>
        <a:srgbClr val="323F4F"/>
      </a:hlink>
      <a:folHlink>
        <a:srgbClr val="8496B0"/>
      </a:folHlink>
    </a:clrScheme>
    <a:fontScheme name="Custom 10">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TAN_Template_2017" id="{F76A7BFF-6550-48C5-BEE5-FBF1E49E81C6}" vid="{60C30A91-38A7-4C04-9B50-70ACDE92A93E}"/>
    </a:ext>
  </a:extLst>
</a:theme>
</file>

<file path=ppt/theme/theme3.xml><?xml version="1.0" encoding="utf-8"?>
<a:theme xmlns:a="http://schemas.openxmlformats.org/drawingml/2006/main" name="Excom_2018">
  <a:themeElements>
    <a:clrScheme name="Telefónica 2018 v2">
      <a:dk1>
        <a:srgbClr val="003042"/>
      </a:dk1>
      <a:lt1>
        <a:srgbClr val="FFFFFF"/>
      </a:lt1>
      <a:dk2>
        <a:srgbClr val="003042"/>
      </a:dk2>
      <a:lt2>
        <a:srgbClr val="00EDFF"/>
      </a:lt2>
      <a:accent1>
        <a:srgbClr val="0093B7"/>
      </a:accent1>
      <a:accent2>
        <a:srgbClr val="0FFE99"/>
      </a:accent2>
      <a:accent3>
        <a:srgbClr val="FF7B03"/>
      </a:accent3>
      <a:accent4>
        <a:srgbClr val="FE4A4A"/>
      </a:accent4>
      <a:accent5>
        <a:srgbClr val="4D515A"/>
      </a:accent5>
      <a:accent6>
        <a:srgbClr val="980097"/>
      </a:accent6>
      <a:hlink>
        <a:srgbClr val="00495B"/>
      </a:hlink>
      <a:folHlink>
        <a:srgbClr val="008DAF"/>
      </a:folHlink>
    </a:clrScheme>
    <a:fontScheme name="Telefonica 2016">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lIns="0" tIns="0" rIns="0" bIns="0">
        <a:spAutoFit/>
      </a:bodyPr>
      <a:lstStyle>
        <a:defPPr eaLnBrk="1" hangingPunct="1">
          <a:defRPr sz="1600" dirty="0" err="1">
            <a:solidFill>
              <a:schemeClr val="tx2"/>
            </a:solidFill>
            <a:latin typeface="+mj-lt"/>
            <a:cs typeface="Arial" panose="020B0604020202020204" pitchFamily="34" charset="0"/>
          </a:defRPr>
        </a:defPPr>
      </a:lstStyle>
    </a:txDef>
  </a:objectDefaults>
  <a:extraClrSchemeLst/>
  <a:extLst>
    <a:ext uri="{05A4C25C-085E-4340-85A3-A5531E510DB2}">
      <thm15:themeFamily xmlns:thm15="http://schemas.microsoft.com/office/thememl/2012/main" name="Excom_2018" id="{CA688486-C28C-8741-9D43-637FBBC1D1F7}" vid="{E9D1E7B9-3CAA-E64F-BF97-E086238B152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402</TotalTime>
  <Words>286</Words>
  <Application>Microsoft Macintosh PowerPoint</Application>
  <PresentationFormat>Widescreen</PresentationFormat>
  <Paragraphs>110</Paragraphs>
  <Slides>6</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6</vt:i4>
      </vt:variant>
    </vt:vector>
  </HeadingPairs>
  <TitlesOfParts>
    <vt:vector size="22" baseType="lpstr">
      <vt:lpstr>Arial</vt:lpstr>
      <vt:lpstr>Calibri</vt:lpstr>
      <vt:lpstr>Calibri Light</vt:lpstr>
      <vt:lpstr>Courier New</vt:lpstr>
      <vt:lpstr>Frutiger45-Light</vt:lpstr>
      <vt:lpstr>Segoe UI</vt:lpstr>
      <vt:lpstr>Source Sans Pro</vt:lpstr>
      <vt:lpstr>Telefonica ExtraLight</vt:lpstr>
      <vt:lpstr>Trebuchet MS</vt:lpstr>
      <vt:lpstr>Verdana</vt:lpstr>
      <vt:lpstr>Wingdings</vt:lpstr>
      <vt:lpstr>Business Contrast 16x9</vt:lpstr>
      <vt:lpstr>14_Custom Design</vt:lpstr>
      <vt:lpstr>Excom_2018</vt:lpstr>
      <vt:lpstr>think-cell Slide</vt:lpstr>
      <vt:lpstr>Diapositiva de think-cell</vt:lpstr>
      <vt:lpstr>Figure 1. Module Framework</vt:lpstr>
      <vt:lpstr>Figure 2. Fiber Construction Module Framework</vt:lpstr>
      <vt:lpstr>Figure 3. Network Domains</vt:lpstr>
      <vt:lpstr>Figure 4. Construction Planning Process</vt:lpstr>
      <vt:lpstr>Figure 5. Network Span segmentation</vt:lpstr>
      <vt:lpstr>Figure 6. RFx Pro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worX @ IpT: Transport Highlights</dc:title>
  <dc:creator>teleworx</dc:creator>
  <cp:lastModifiedBy>Ginés Fernández Costa</cp:lastModifiedBy>
  <cp:revision>591</cp:revision>
  <dcterms:created xsi:type="dcterms:W3CDTF">2019-08-15T17:55:34Z</dcterms:created>
  <dcterms:modified xsi:type="dcterms:W3CDTF">2020-09-03T15:28:39Z</dcterms:modified>
</cp:coreProperties>
</file>